
<file path=[Content_Types].xml><?xml version="1.0" encoding="utf-8"?>
<Types xmlns="http://schemas.openxmlformats.org/package/2006/content-types">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7" r:id="rId6"/>
  </p:sldMasterIdLst>
  <p:notesMasterIdLst>
    <p:notesMasterId r:id="rId21"/>
  </p:notesMasterIdLst>
  <p:handoutMasterIdLst>
    <p:handoutMasterId r:id="rId22"/>
  </p:handoutMasterIdLst>
  <p:sldIdLst>
    <p:sldId id="725" r:id="rId7"/>
    <p:sldId id="726" r:id="rId8"/>
    <p:sldId id="727" r:id="rId9"/>
    <p:sldId id="720" r:id="rId10"/>
    <p:sldId id="715" r:id="rId11"/>
    <p:sldId id="718" r:id="rId12"/>
    <p:sldId id="721" r:id="rId13"/>
    <p:sldId id="723" r:id="rId14"/>
    <p:sldId id="709" r:id="rId15"/>
    <p:sldId id="710" r:id="rId16"/>
    <p:sldId id="711" r:id="rId17"/>
    <p:sldId id="712" r:id="rId18"/>
    <p:sldId id="724" r:id="rId19"/>
    <p:sldId id="714"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64A2"/>
    <a:srgbClr val="D1FABE"/>
    <a:srgbClr val="FFD2DD"/>
    <a:srgbClr val="BEE4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E4ABBA-8F10-4BAC-B9F7-AA98562CA82E}" v="4027" dt="2024-06-20T04:30:08.3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44" autoAdjust="0"/>
    <p:restoredTop sz="75505" autoAdjust="0"/>
  </p:normalViewPr>
  <p:slideViewPr>
    <p:cSldViewPr snapToGrid="0">
      <p:cViewPr varScale="1">
        <p:scale>
          <a:sx n="149" d="100"/>
          <a:sy n="149" d="100"/>
        </p:scale>
        <p:origin x="96" y="366"/>
      </p:cViewPr>
      <p:guideLst>
        <p:guide orient="horz" pos="2136"/>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8598"/>
    </p:cViewPr>
  </p:sorterViewPr>
  <p:notesViewPr>
    <p:cSldViewPr snapToGrid="0">
      <p:cViewPr varScale="1">
        <p:scale>
          <a:sx n="124" d="100"/>
          <a:sy n="124" d="100"/>
        </p:scale>
        <p:origin x="2904"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tags" Target="tags/tag1.xml"/><Relationship Id="rId28"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Baluka" userId="7068dd7de4bf55dd" providerId="LiveId" clId="{C2E4ABBA-8F10-4BAC-B9F7-AA98562CA82E}"/>
    <pc:docChg chg="custSel modSld">
      <pc:chgData name="John Baluka" userId="7068dd7de4bf55dd" providerId="LiveId" clId="{C2E4ABBA-8F10-4BAC-B9F7-AA98562CA82E}" dt="2024-06-20T04:32:47.703" v="593" actId="255"/>
      <pc:docMkLst>
        <pc:docMk/>
      </pc:docMkLst>
      <pc:sldChg chg="modNotesTx">
        <pc:chgData name="John Baluka" userId="7068dd7de4bf55dd" providerId="LiveId" clId="{C2E4ABBA-8F10-4BAC-B9F7-AA98562CA82E}" dt="2024-06-20T04:31:40.009" v="588" actId="255"/>
        <pc:sldMkLst>
          <pc:docMk/>
          <pc:sldMk cId="490548130" sldId="709"/>
        </pc:sldMkLst>
      </pc:sldChg>
      <pc:sldChg chg="addSp modSp mod modTransition modAnim replTag modNotesTx">
        <pc:chgData name="John Baluka" userId="7068dd7de4bf55dd" providerId="LiveId" clId="{C2E4ABBA-8F10-4BAC-B9F7-AA98562CA82E}" dt="2024-06-20T04:31:44.546" v="589" actId="255"/>
        <pc:sldMkLst>
          <pc:docMk/>
          <pc:sldMk cId="2998556294" sldId="710"/>
        </pc:sldMkLst>
        <pc:picChg chg="add mod">
          <ac:chgData name="John Baluka" userId="7068dd7de4bf55dd" providerId="LiveId" clId="{C2E4ABBA-8F10-4BAC-B9F7-AA98562CA82E}" dt="2024-06-20T02:05:42.847" v="155"/>
          <ac:picMkLst>
            <pc:docMk/>
            <pc:sldMk cId="2998556294" sldId="710"/>
            <ac:picMk id="37" creationId="{9741F696-6F4F-909A-CC0D-0EDBD07F5AE4}"/>
          </ac:picMkLst>
        </pc:picChg>
      </pc:sldChg>
      <pc:sldChg chg="addSp modSp mod modTransition modAnim modNotesTx">
        <pc:chgData name="John Baluka" userId="7068dd7de4bf55dd" providerId="LiveId" clId="{C2E4ABBA-8F10-4BAC-B9F7-AA98562CA82E}" dt="2024-06-20T04:31:49.551" v="590" actId="255"/>
        <pc:sldMkLst>
          <pc:docMk/>
          <pc:sldMk cId="2886236356" sldId="711"/>
        </pc:sldMkLst>
        <pc:picChg chg="add mod">
          <ac:chgData name="John Baluka" userId="7068dd7de4bf55dd" providerId="LiveId" clId="{C2E4ABBA-8F10-4BAC-B9F7-AA98562CA82E}" dt="2024-06-20T02:06:17.145" v="176"/>
          <ac:picMkLst>
            <pc:docMk/>
            <pc:sldMk cId="2886236356" sldId="711"/>
            <ac:picMk id="13" creationId="{4197DA81-4A76-92F0-87E5-7CE6B6486156}"/>
          </ac:picMkLst>
        </pc:picChg>
      </pc:sldChg>
      <pc:sldChg chg="addSp modSp mod modTransition modAnim replTag modNotesTx">
        <pc:chgData name="John Baluka" userId="7068dd7de4bf55dd" providerId="LiveId" clId="{C2E4ABBA-8F10-4BAC-B9F7-AA98562CA82E}" dt="2024-06-20T04:31:54.440" v="591" actId="255"/>
        <pc:sldMkLst>
          <pc:docMk/>
          <pc:sldMk cId="3763520485" sldId="712"/>
        </pc:sldMkLst>
        <pc:picChg chg="add mod">
          <ac:chgData name="John Baluka" userId="7068dd7de4bf55dd" providerId="LiveId" clId="{C2E4ABBA-8F10-4BAC-B9F7-AA98562CA82E}" dt="2024-06-20T02:06:49.613" v="196"/>
          <ac:picMkLst>
            <pc:docMk/>
            <pc:sldMk cId="3763520485" sldId="712"/>
            <ac:picMk id="5" creationId="{554FA56D-6D4B-950A-6E11-7CD8E75A3BF9}"/>
          </ac:picMkLst>
        </pc:picChg>
      </pc:sldChg>
      <pc:sldChg chg="modNotesTx">
        <pc:chgData name="John Baluka" userId="7068dd7de4bf55dd" providerId="LiveId" clId="{C2E4ABBA-8F10-4BAC-B9F7-AA98562CA82E}" dt="2024-06-20T04:32:04.345" v="592" actId="255"/>
        <pc:sldMkLst>
          <pc:docMk/>
          <pc:sldMk cId="2180654885" sldId="714"/>
        </pc:sldMkLst>
      </pc:sldChg>
      <pc:sldChg chg="addSp modSp mod modTransition modAnim replTag modNotesTx">
        <pc:chgData name="John Baluka" userId="7068dd7de4bf55dd" providerId="LiveId" clId="{C2E4ABBA-8F10-4BAC-B9F7-AA98562CA82E}" dt="2024-06-20T04:32:47.703" v="593" actId="255"/>
        <pc:sldMkLst>
          <pc:docMk/>
          <pc:sldMk cId="4040757370" sldId="715"/>
        </pc:sldMkLst>
        <pc:picChg chg="add mod">
          <ac:chgData name="John Baluka" userId="7068dd7de4bf55dd" providerId="LiveId" clId="{C2E4ABBA-8F10-4BAC-B9F7-AA98562CA82E}" dt="2024-06-20T02:00:41.267" v="72"/>
          <ac:picMkLst>
            <pc:docMk/>
            <pc:sldMk cId="4040757370" sldId="715"/>
            <ac:picMk id="33" creationId="{390B17C9-621A-7960-06FF-3C35651CEB4D}"/>
          </ac:picMkLst>
        </pc:picChg>
      </pc:sldChg>
      <pc:sldChg chg="addSp modSp mod modTransition modAnim modNotesTx">
        <pc:chgData name="John Baluka" userId="7068dd7de4bf55dd" providerId="LiveId" clId="{C2E4ABBA-8F10-4BAC-B9F7-AA98562CA82E}" dt="2024-06-20T04:31:18.104" v="585" actId="255"/>
        <pc:sldMkLst>
          <pc:docMk/>
          <pc:sldMk cId="1415566506" sldId="718"/>
        </pc:sldMkLst>
        <pc:picChg chg="add mod">
          <ac:chgData name="John Baluka" userId="7068dd7de4bf55dd" providerId="LiveId" clId="{C2E4ABBA-8F10-4BAC-B9F7-AA98562CA82E}" dt="2024-06-20T02:02:36.456" v="93"/>
          <ac:picMkLst>
            <pc:docMk/>
            <pc:sldMk cId="1415566506" sldId="718"/>
            <ac:picMk id="24" creationId="{F9673F8E-2EA0-08E6-CA27-753E2006BA49}"/>
          </ac:picMkLst>
        </pc:picChg>
      </pc:sldChg>
      <pc:sldChg chg="addSp modSp mod modTransition modAnim replTag modNotesTx">
        <pc:chgData name="John Baluka" userId="7068dd7de4bf55dd" providerId="LiveId" clId="{C2E4ABBA-8F10-4BAC-B9F7-AA98562CA82E}" dt="2024-06-20T04:31:07.998" v="583" actId="255"/>
        <pc:sldMkLst>
          <pc:docMk/>
          <pc:sldMk cId="3715884362" sldId="720"/>
        </pc:sldMkLst>
        <pc:picChg chg="add mod">
          <ac:chgData name="John Baluka" userId="7068dd7de4bf55dd" providerId="LiveId" clId="{C2E4ABBA-8F10-4BAC-B9F7-AA98562CA82E}" dt="2024-06-20T01:59:03.233" v="51"/>
          <ac:picMkLst>
            <pc:docMk/>
            <pc:sldMk cId="3715884362" sldId="720"/>
            <ac:picMk id="8" creationId="{514F6D1F-5C26-CD90-81B1-F74D075786E8}"/>
          </ac:picMkLst>
        </pc:picChg>
      </pc:sldChg>
      <pc:sldChg chg="addSp modSp mod modTransition modAnim replTag modNotesTx">
        <pc:chgData name="John Baluka" userId="7068dd7de4bf55dd" providerId="LiveId" clId="{C2E4ABBA-8F10-4BAC-B9F7-AA98562CA82E}" dt="2024-06-20T04:31:23.734" v="586" actId="255"/>
        <pc:sldMkLst>
          <pc:docMk/>
          <pc:sldMk cId="1257981742" sldId="721"/>
        </pc:sldMkLst>
        <pc:picChg chg="add mod">
          <ac:chgData name="John Baluka" userId="7068dd7de4bf55dd" providerId="LiveId" clId="{C2E4ABBA-8F10-4BAC-B9F7-AA98562CA82E}" dt="2024-06-20T02:03:11.301" v="113"/>
          <ac:picMkLst>
            <pc:docMk/>
            <pc:sldMk cId="1257981742" sldId="721"/>
            <ac:picMk id="36" creationId="{BE01BFE0-EE76-5554-FF3A-B8BEFCBEE7B0}"/>
          </ac:picMkLst>
        </pc:picChg>
      </pc:sldChg>
      <pc:sldChg chg="addSp modSp mod modTransition modAnim replTag modNotesTx">
        <pc:chgData name="John Baluka" userId="7068dd7de4bf55dd" providerId="LiveId" clId="{C2E4ABBA-8F10-4BAC-B9F7-AA98562CA82E}" dt="2024-06-20T04:31:30.875" v="587" actId="255"/>
        <pc:sldMkLst>
          <pc:docMk/>
          <pc:sldMk cId="3315616603" sldId="723"/>
        </pc:sldMkLst>
        <pc:picChg chg="add mod">
          <ac:chgData name="John Baluka" userId="7068dd7de4bf55dd" providerId="LiveId" clId="{C2E4ABBA-8F10-4BAC-B9F7-AA98562CA82E}" dt="2024-06-20T02:04:26.289" v="134"/>
          <ac:picMkLst>
            <pc:docMk/>
            <pc:sldMk cId="3315616603" sldId="723"/>
            <ac:picMk id="9" creationId="{583FAFB8-7D16-2265-2266-9F81BA3F7B35}"/>
          </ac:picMkLst>
        </pc:picChg>
      </pc:sldChg>
      <pc:sldChg chg="addSp delSp modSp mod modTransition modAnim replTag modNotesTx">
        <pc:chgData name="John Baluka" userId="7068dd7de4bf55dd" providerId="LiveId" clId="{C2E4ABBA-8F10-4BAC-B9F7-AA98562CA82E}" dt="2024-06-20T04:29:23.771" v="576" actId="255"/>
        <pc:sldMkLst>
          <pc:docMk/>
          <pc:sldMk cId="2474625852" sldId="724"/>
        </pc:sldMkLst>
        <pc:picChg chg="add del mod">
          <ac:chgData name="John Baluka" userId="7068dd7de4bf55dd" providerId="LiveId" clId="{C2E4ABBA-8F10-4BAC-B9F7-AA98562CA82E}" dt="2024-06-20T02:31:59.458" v="424"/>
          <ac:picMkLst>
            <pc:docMk/>
            <pc:sldMk cId="2474625852" sldId="724"/>
            <ac:picMk id="49" creationId="{B3CEEC1A-BC67-2351-F778-4AEFED386F0C}"/>
          </ac:picMkLst>
        </pc:picChg>
        <pc:picChg chg="add del mod">
          <ac:chgData name="John Baluka" userId="7068dd7de4bf55dd" providerId="LiveId" clId="{C2E4ABBA-8F10-4BAC-B9F7-AA98562CA82E}" dt="2024-06-20T02:37:54.187" v="499"/>
          <ac:picMkLst>
            <pc:docMk/>
            <pc:sldMk cId="2474625852" sldId="724"/>
            <ac:picMk id="50" creationId="{1AF5898A-3958-8093-C917-6E3198FA4894}"/>
          </ac:picMkLst>
        </pc:picChg>
        <pc:picChg chg="add mod">
          <ac:chgData name="John Baluka" userId="7068dd7de4bf55dd" providerId="LiveId" clId="{C2E4ABBA-8F10-4BAC-B9F7-AA98562CA82E}" dt="2024-06-20T02:39:58.649" v="511"/>
          <ac:picMkLst>
            <pc:docMk/>
            <pc:sldMk cId="2474625852" sldId="724"/>
            <ac:picMk id="51" creationId="{E238BE15-3665-17DB-284D-E32DC0166B50}"/>
          </ac:picMkLst>
        </pc:picChg>
      </pc:sldChg>
      <pc:sldChg chg="modNotesTx">
        <pc:chgData name="John Baluka" userId="7068dd7de4bf55dd" providerId="LiveId" clId="{C2E4ABBA-8F10-4BAC-B9F7-AA98562CA82E}" dt="2024-06-20T04:30:14.196" v="580" actId="255"/>
        <pc:sldMkLst>
          <pc:docMk/>
          <pc:sldMk cId="4229997057" sldId="725"/>
        </pc:sldMkLst>
      </pc:sldChg>
      <pc:sldChg chg="addSp modSp mod modTransition modAnim replTag modNotesTx">
        <pc:chgData name="John Baluka" userId="7068dd7de4bf55dd" providerId="LiveId" clId="{C2E4ABBA-8F10-4BAC-B9F7-AA98562CA82E}" dt="2024-06-20T04:30:33.398" v="581" actId="255"/>
        <pc:sldMkLst>
          <pc:docMk/>
          <pc:sldMk cId="1142799067" sldId="726"/>
        </pc:sldMkLst>
        <pc:picChg chg="add mod">
          <ac:chgData name="John Baluka" userId="7068dd7de4bf55dd" providerId="LiveId" clId="{C2E4ABBA-8F10-4BAC-B9F7-AA98562CA82E}" dt="2024-06-20T01:57:15.957" v="10"/>
          <ac:picMkLst>
            <pc:docMk/>
            <pc:sldMk cId="1142799067" sldId="726"/>
            <ac:picMk id="54" creationId="{ACA3D7B1-D947-FB2F-97E7-E21C767BBE0F}"/>
          </ac:picMkLst>
        </pc:picChg>
      </pc:sldChg>
      <pc:sldChg chg="addSp modSp mod modTransition modAnim modNotesTx">
        <pc:chgData name="John Baluka" userId="7068dd7de4bf55dd" providerId="LiveId" clId="{C2E4ABBA-8F10-4BAC-B9F7-AA98562CA82E}" dt="2024-06-20T04:30:38.710" v="582" actId="255"/>
        <pc:sldMkLst>
          <pc:docMk/>
          <pc:sldMk cId="1479168164" sldId="727"/>
        </pc:sldMkLst>
        <pc:picChg chg="add mod">
          <ac:chgData name="John Baluka" userId="7068dd7de4bf55dd" providerId="LiveId" clId="{C2E4ABBA-8F10-4BAC-B9F7-AA98562CA82E}" dt="2024-06-20T01:58:18.268" v="31"/>
          <ac:picMkLst>
            <pc:docMk/>
            <pc:sldMk cId="1479168164" sldId="727"/>
            <ac:picMk id="26" creationId="{2DC9E0B3-A9CB-2897-E682-9F6BA65DEBB1}"/>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0DEFD3E-FCA1-4479-B938-D04F231374AB}" type="datetimeFigureOut">
              <a:rPr lang="en-US" smtClean="0"/>
              <a:t>6/12/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77A8EC-4EE9-4C81-93E4-22A428457FE8}" type="slidenum">
              <a:rPr lang="en-US" smtClean="0"/>
              <a:t>‹#›</a:t>
            </a:fld>
            <a:endParaRPr lang="en-US"/>
          </a:p>
        </p:txBody>
      </p:sp>
    </p:spTree>
    <p:extLst>
      <p:ext uri="{BB962C8B-B14F-4D97-AF65-F5344CB8AC3E}">
        <p14:creationId xmlns:p14="http://schemas.microsoft.com/office/powerpoint/2010/main" val="30388335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2011FA-6714-46A1-9E0D-6743EEA4A590}" type="datetimeFigureOut">
              <a:rPr lang="en-US" smtClean="0"/>
              <a:t>6/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786431-D1BB-4F6B-9525-D7C6D0E121EB}" type="slidenum">
              <a:rPr lang="en-US" smtClean="0"/>
              <a:t>‹#›</a:t>
            </a:fld>
            <a:endParaRPr lang="en-US"/>
          </a:p>
        </p:txBody>
      </p:sp>
    </p:spTree>
    <p:extLst>
      <p:ext uri="{BB962C8B-B14F-4D97-AF65-F5344CB8AC3E}">
        <p14:creationId xmlns:p14="http://schemas.microsoft.com/office/powerpoint/2010/main" val="22255910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mailto:John@MultimodalSlides.com"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mailto:John@MultimodalSlides.com"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This is a Preview Release of how Multimodal Slides can convert your PowerPoint content into multimodal content that one can read, listen, or watch.  That multimodal content can then be published into your existing website or into a stand-alone website.</a:t>
            </a:r>
          </a:p>
          <a:p>
            <a:pPr marL="0" marR="0">
              <a:spcBef>
                <a:spcPts val="0"/>
              </a:spcBef>
              <a:spcAft>
                <a:spcPts val="0"/>
              </a:spcAft>
            </a:pP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CLICK}Since this is a Preview Release, there are some bugs to where various actions and performance aspects may not work as expected.</a:t>
            </a:r>
          </a:p>
          <a:p>
            <a:pPr marL="0" marR="0">
              <a:spcBef>
                <a:spcPts val="0"/>
              </a:spcBef>
              <a:spcAft>
                <a:spcPts val="0"/>
              </a:spcAft>
            </a:pP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CLICK}You can also watch the full animated experience on YouTube.  The overall goal is to provide a similar experience within the web page as watching the video.</a:t>
            </a:r>
          </a:p>
          <a:p>
            <a:pPr marL="0" marR="0">
              <a:spcBef>
                <a:spcPts val="0"/>
              </a:spcBef>
              <a:spcAft>
                <a:spcPts val="0"/>
              </a:spcAft>
            </a:pP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Here are some questions I will answer.</a:t>
            </a:r>
          </a:p>
          <a:p>
            <a:pPr marL="0" marR="0">
              <a:spcBef>
                <a:spcPts val="0"/>
              </a:spcBef>
              <a:spcAft>
                <a:spcPts val="0"/>
              </a:spcAft>
            </a:pP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CLICK}What is Multimodal content?</a:t>
            </a: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CLICK}What tools are available to </a:t>
            </a:r>
            <a:r>
              <a:rPr lang="en-US" sz="1050" b="1" kern="100" dirty="0">
                <a:effectLst/>
                <a:latin typeface="Aptos" panose="020B0004020202020204" pitchFamily="34" charset="0"/>
                <a:ea typeface="Aptos" panose="020B0004020202020204" pitchFamily="34" charset="0"/>
                <a:cs typeface="Times New Roman" panose="02020603050405020304" pitchFamily="18" charset="0"/>
              </a:rPr>
              <a:t>create</a:t>
            </a:r>
            <a:r>
              <a:rPr lang="en-US" sz="1050" kern="100" dirty="0">
                <a:effectLst/>
                <a:latin typeface="Aptos" panose="020B0004020202020204" pitchFamily="34" charset="0"/>
                <a:ea typeface="Aptos" panose="020B0004020202020204" pitchFamily="34" charset="0"/>
                <a:cs typeface="Times New Roman" panose="02020603050405020304" pitchFamily="18" charset="0"/>
              </a:rPr>
              <a:t> Multimodal content?</a:t>
            </a: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CLICK}</a:t>
            </a:r>
            <a:r>
              <a:rPr lang="en-US" sz="1050" kern="1200" dirty="0"/>
              <a:t>How can you manage and </a:t>
            </a:r>
            <a:r>
              <a:rPr lang="en-US" sz="1050" b="1" kern="1200" dirty="0"/>
              <a:t>publish</a:t>
            </a:r>
            <a:r>
              <a:rPr lang="en-US" sz="1050" kern="1200" dirty="0"/>
              <a:t> Multimodal content?</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CLICK}If you are listening to this content, the lower left-hand corner of </a:t>
            </a:r>
            <a:r>
              <a:rPr lang="en-US" sz="1050" kern="100" dirty="0" err="1">
                <a:effectLst/>
                <a:latin typeface="Aptos" panose="020B0004020202020204" pitchFamily="34" charset="0"/>
                <a:ea typeface="Aptos" panose="020B0004020202020204" pitchFamily="34" charset="0"/>
                <a:cs typeface="Times New Roman" panose="02020603050405020304" pitchFamily="18" charset="0"/>
              </a:rPr>
              <a:t>eacah</a:t>
            </a:r>
            <a:r>
              <a:rPr lang="en-US" sz="1050" kern="100" dirty="0">
                <a:effectLst/>
                <a:latin typeface="Aptos" panose="020B0004020202020204" pitchFamily="34" charset="0"/>
                <a:ea typeface="Aptos" panose="020B0004020202020204" pitchFamily="34" charset="0"/>
                <a:cs typeface="Times New Roman" panose="02020603050405020304" pitchFamily="18" charset="0"/>
              </a:rPr>
              <a:t> slide will provide the source of the voice.  This was done to demonstrate what is possible.  For this slide, I simply </a:t>
            </a:r>
            <a:r>
              <a:rPr lang="en-US" sz="1050" dirty="0"/>
              <a:t>manually recorded my voice using the Narration feature in PowerPoint.  In later slides, I will use some various Text-To-Speech voices that are available with the Multimodal Slides Platform.</a:t>
            </a: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p>
            <a:endParaRPr lang="en-US" sz="1050" dirty="0"/>
          </a:p>
        </p:txBody>
      </p:sp>
      <p:sp>
        <p:nvSpPr>
          <p:cNvPr id="4" name="Slide Number Placeholder 3"/>
          <p:cNvSpPr>
            <a:spLocks noGrp="1"/>
          </p:cNvSpPr>
          <p:nvPr>
            <p:ph type="sldNum" sz="quarter" idx="5"/>
          </p:nvPr>
        </p:nvSpPr>
        <p:spPr/>
        <p:txBody>
          <a:bodyPr/>
          <a:lstStyle/>
          <a:p>
            <a:fld id="{19786431-D1BB-4F6B-9525-D7C6D0E121EB}" type="slidenum">
              <a:rPr lang="en-US" smtClean="0"/>
              <a:t>1</a:t>
            </a:fld>
            <a:endParaRPr lang="en-US"/>
          </a:p>
        </p:txBody>
      </p:sp>
    </p:spTree>
    <p:extLst>
      <p:ext uri="{BB962C8B-B14F-4D97-AF65-F5344CB8AC3E}">
        <p14:creationId xmlns:p14="http://schemas.microsoft.com/office/powerpoint/2010/main" val="29154457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There are not many good options for sharing and publishing from slide-based tools, like PowerPoint</a:t>
            </a: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CLICK}The slide sharing sites like Slideshare.net, Speaker Deck and Deck Links are too limited.  Many show a lot of ads, do a poor job of converting the slides to images, and provide a weak user interface.</a:t>
            </a: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CLICK}A Learning Management System (LMS) might be too much, meaning too expensive or too complicated.  </a:t>
            </a:r>
            <a:r>
              <a:rPr lang="en-US" sz="1050" kern="100" dirty="0" err="1">
                <a:effectLst/>
                <a:latin typeface="Aptos" panose="020B0004020202020204" pitchFamily="34" charset="0"/>
                <a:ea typeface="Aptos" panose="020B0004020202020204" pitchFamily="34" charset="0"/>
                <a:cs typeface="Times New Roman" panose="02020603050405020304" pitchFamily="18" charset="0"/>
              </a:rPr>
              <a:t>iSpring</a:t>
            </a:r>
            <a:r>
              <a:rPr lang="en-US" sz="1050" kern="100" dirty="0">
                <a:effectLst/>
                <a:latin typeface="Aptos" panose="020B0004020202020204" pitchFamily="34" charset="0"/>
                <a:ea typeface="Aptos" panose="020B0004020202020204" pitchFamily="34" charset="0"/>
                <a:cs typeface="Times New Roman" panose="02020603050405020304" pitchFamily="18" charset="0"/>
              </a:rPr>
              <a:t> Solutions integrates into PowerPoint, but the converted content is just ok.  Articulate Storyline and Adobe Captivate are popular in the Instructional Design space but might be more than what you need.</a:t>
            </a: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CLICK}Canva has become a lot more popular as a PowerPoint alternative.  Prezi and Pitch have also come a long way.  However, when it comes to using those alternatives, they might be a little too different than what you might be used to in PowerPoint.  All three alternatives usually do a poor job importing a PowerPoint file.</a:t>
            </a:r>
          </a:p>
        </p:txBody>
      </p:sp>
      <p:sp>
        <p:nvSpPr>
          <p:cNvPr id="4" name="Slide Number Placeholder 3"/>
          <p:cNvSpPr>
            <a:spLocks noGrp="1"/>
          </p:cNvSpPr>
          <p:nvPr>
            <p:ph type="sldNum" sz="quarter" idx="5"/>
          </p:nvPr>
        </p:nvSpPr>
        <p:spPr/>
        <p:txBody>
          <a:bodyPr/>
          <a:lstStyle/>
          <a:p>
            <a:fld id="{19786431-D1BB-4F6B-9525-D7C6D0E121EB}" type="slidenum">
              <a:rPr lang="en-US" smtClean="0"/>
              <a:t>10</a:t>
            </a:fld>
            <a:endParaRPr lang="en-US"/>
          </a:p>
        </p:txBody>
      </p:sp>
    </p:spTree>
    <p:extLst>
      <p:ext uri="{BB962C8B-B14F-4D97-AF65-F5344CB8AC3E}">
        <p14:creationId xmlns:p14="http://schemas.microsoft.com/office/powerpoint/2010/main" val="21586271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The MultimodalSlides.com website was created using the Multimodal Slides platform.</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100" dirty="0"/>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All of the content created for MultimodalSlides.com was done in PowerPoint.</a:t>
            </a:r>
          </a:p>
          <a:p>
            <a:pPr marL="0" marR="0">
              <a:spcBef>
                <a:spcPts val="0"/>
              </a:spcBef>
              <a:spcAft>
                <a:spcPts val="0"/>
              </a:spcAft>
            </a:pPr>
            <a:r>
              <a:rPr lang="en-US" sz="1100" dirty="0"/>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The Multimodal Slides platform used Text-to-Speech for some slides and converted to a web page.</a:t>
            </a:r>
          </a:p>
          <a:p>
            <a:pPr marL="0" marR="0">
              <a:spcBef>
                <a:spcPts val="0"/>
              </a:spcBef>
              <a:spcAft>
                <a:spcPts val="0"/>
              </a:spcAft>
            </a:pPr>
            <a:r>
              <a:rPr lang="en-US" sz="1100" dirty="0"/>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The MultimodalSlides.com website is hosted on GitHub Pages for free.</a:t>
            </a:r>
          </a:p>
        </p:txBody>
      </p:sp>
      <p:sp>
        <p:nvSpPr>
          <p:cNvPr id="4" name="Slide Number Placeholder 3"/>
          <p:cNvSpPr>
            <a:spLocks noGrp="1"/>
          </p:cNvSpPr>
          <p:nvPr>
            <p:ph type="sldNum" sz="quarter" idx="5"/>
          </p:nvPr>
        </p:nvSpPr>
        <p:spPr/>
        <p:txBody>
          <a:bodyPr/>
          <a:lstStyle/>
          <a:p>
            <a:fld id="{19786431-D1BB-4F6B-9525-D7C6D0E121EB}" type="slidenum">
              <a:rPr lang="en-US" smtClean="0"/>
              <a:t>11</a:t>
            </a:fld>
            <a:endParaRPr lang="en-US"/>
          </a:p>
        </p:txBody>
      </p:sp>
    </p:spTree>
    <p:extLst>
      <p:ext uri="{BB962C8B-B14F-4D97-AF65-F5344CB8AC3E}">
        <p14:creationId xmlns:p14="http://schemas.microsoft.com/office/powerpoint/2010/main" val="25946052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There is nothing else out there that provides this Multimodal Experience!</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100" dirty="0"/>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For Multimodal Slides, you just need to use PowerPoint and there are no add-ins to install.</a:t>
            </a:r>
          </a:p>
          <a:p>
            <a:pPr marL="0" marR="0">
              <a:spcBef>
                <a:spcPts val="0"/>
              </a:spcBef>
              <a:spcAft>
                <a:spcPts val="0"/>
              </a:spcAft>
            </a:pPr>
            <a:r>
              <a:rPr lang="en-US" sz="1100" dirty="0"/>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Multimodal Slides provides the best conversion of slides to SVG images.</a:t>
            </a:r>
          </a:p>
          <a:p>
            <a:pPr marL="0" marR="0">
              <a:spcBef>
                <a:spcPts val="0"/>
              </a:spcBef>
              <a:spcAft>
                <a:spcPts val="0"/>
              </a:spcAft>
            </a:pPr>
            <a:r>
              <a:rPr lang="en-US" sz="1100" dirty="0"/>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Most importantly, Multimodal Slides does not own or store your data!</a:t>
            </a:r>
          </a:p>
        </p:txBody>
      </p:sp>
      <p:sp>
        <p:nvSpPr>
          <p:cNvPr id="4" name="Slide Number Placeholder 3"/>
          <p:cNvSpPr>
            <a:spLocks noGrp="1"/>
          </p:cNvSpPr>
          <p:nvPr>
            <p:ph type="sldNum" sz="quarter" idx="5"/>
          </p:nvPr>
        </p:nvSpPr>
        <p:spPr/>
        <p:txBody>
          <a:bodyPr/>
          <a:lstStyle/>
          <a:p>
            <a:fld id="{19786431-D1BB-4F6B-9525-D7C6D0E121EB}" type="slidenum">
              <a:rPr lang="en-US" smtClean="0"/>
              <a:t>12</a:t>
            </a:fld>
            <a:endParaRPr lang="en-US"/>
          </a:p>
        </p:txBody>
      </p:sp>
    </p:spTree>
    <p:extLst>
      <p:ext uri="{BB962C8B-B14F-4D97-AF65-F5344CB8AC3E}">
        <p14:creationId xmlns:p14="http://schemas.microsoft.com/office/powerpoint/2010/main" val="34597179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dirty="0"/>
              <a:t>Here are some of the features on the roadmap.</a:t>
            </a:r>
          </a:p>
          <a:p>
            <a:pPr marL="0" marR="0">
              <a:spcBef>
                <a:spcPts val="0"/>
              </a:spcBef>
              <a:spcAft>
                <a:spcPts val="0"/>
              </a:spcAft>
            </a:pPr>
            <a:endParaRPr lang="en-US" sz="1100" dirty="0"/>
          </a:p>
          <a:p>
            <a:pPr marL="0" marR="0">
              <a:spcBef>
                <a:spcPts val="0"/>
              </a:spcBef>
              <a:spcAft>
                <a:spcPts val="0"/>
              </a:spcAft>
            </a:pPr>
            <a:r>
              <a:rPr lang="en-US" sz="1100" dirty="0"/>
              <a:t>{CLICK}The ability to clone your voice as a text-to-speech option is currently a popular item.</a:t>
            </a:r>
          </a:p>
          <a:p>
            <a:pPr marL="0" marR="0">
              <a:spcBef>
                <a:spcPts val="0"/>
              </a:spcBef>
              <a:spcAft>
                <a:spcPts val="0"/>
              </a:spcAft>
            </a:pPr>
            <a:r>
              <a:rPr lang="en-US" sz="1100" dirty="0"/>
              <a:t>{CLICK}Providing better formatting capabilities in your Notes, also thought of as the text or transcript of the content.  The use of Markdown is a popular request.</a:t>
            </a:r>
          </a:p>
          <a:p>
            <a:pPr marL="0" marR="0">
              <a:spcBef>
                <a:spcPts val="0"/>
              </a:spcBef>
              <a:spcAft>
                <a:spcPts val="0"/>
              </a:spcAft>
            </a:pPr>
            <a:r>
              <a:rPr lang="en-US" sz="1100" dirty="0"/>
              <a:t>{CLICK}The primary goal is to provide more viewing options, otherwise known as modes.</a:t>
            </a:r>
          </a:p>
          <a:p>
            <a:pPr marL="0" marR="0">
              <a:spcBef>
                <a:spcPts val="0"/>
              </a:spcBef>
              <a:spcAft>
                <a:spcPts val="0"/>
              </a:spcAft>
            </a:pPr>
            <a:endParaRPr lang="en-US" sz="1100" dirty="0"/>
          </a:p>
          <a:p>
            <a:pPr marL="0" marR="0">
              <a:spcBef>
                <a:spcPts val="0"/>
              </a:spcBef>
              <a:spcAft>
                <a:spcPts val="0"/>
              </a:spcAft>
            </a:pPr>
            <a:r>
              <a:rPr lang="en-US" sz="1100" dirty="0"/>
              <a:t>{CLICK}The Presentation Mode is the current available experience.  It is a similar experience on how you can share an embedded PowerPoint or Google Slides presentation without the player capability.</a:t>
            </a:r>
          </a:p>
          <a:p>
            <a:pPr marL="0" marR="0">
              <a:spcBef>
                <a:spcPts val="0"/>
              </a:spcBef>
              <a:spcAft>
                <a:spcPts val="0"/>
              </a:spcAft>
            </a:pPr>
            <a:r>
              <a:rPr lang="en-US" sz="1100" dirty="0"/>
              <a:t>{CLICK}The Reading Mode has more of a Blog Post look and feel.  It is a nice alternative for someone that want to quickly scroll through the content.</a:t>
            </a:r>
          </a:p>
          <a:p>
            <a:pPr marL="0" marR="0">
              <a:spcBef>
                <a:spcPts val="0"/>
              </a:spcBef>
              <a:spcAft>
                <a:spcPts val="0"/>
              </a:spcAft>
            </a:pPr>
            <a:r>
              <a:rPr lang="en-US" sz="1100" dirty="0"/>
              <a:t>{CLICK}The Video Player Mode is a combination of the Presentation Mode and the Reading Mode.  As the presentation plays, the notes and slide thumbnails scroll with the player.</a:t>
            </a:r>
          </a:p>
          <a:p>
            <a:pPr marL="0" marR="0">
              <a:spcBef>
                <a:spcPts val="0"/>
              </a:spcBef>
              <a:spcAft>
                <a:spcPts val="0"/>
              </a:spcAft>
            </a:pP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100" dirty="0"/>
              <a:t>{CLICK}Also, providing an integration with your web site seems like a useful feature.  Overall, we need to hear from you on what you find important.</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9786431-D1BB-4F6B-9525-D7C6D0E121EB}" type="slidenum">
              <a:rPr lang="en-US" smtClean="0"/>
              <a:t>13</a:t>
            </a:fld>
            <a:endParaRPr lang="en-US"/>
          </a:p>
        </p:txBody>
      </p:sp>
    </p:spTree>
    <p:extLst>
      <p:ext uri="{BB962C8B-B14F-4D97-AF65-F5344CB8AC3E}">
        <p14:creationId xmlns:p14="http://schemas.microsoft.com/office/powerpoint/2010/main" val="32804490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You can choose your modality, through these traditional sources.</a:t>
            </a:r>
          </a:p>
          <a:p>
            <a:pPr marL="0" marR="0">
              <a:spcBef>
                <a:spcPts val="0"/>
              </a:spcBef>
              <a:spcAft>
                <a:spcPts val="0"/>
              </a:spcAft>
            </a:pP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100" dirty="0">
                <a:effectLst/>
                <a:latin typeface="Aptos" panose="020B0004020202020204" pitchFamily="34" charset="0"/>
                <a:ea typeface="Aptos" panose="020B0004020202020204" pitchFamily="34" charset="0"/>
                <a:cs typeface="Times New Roman" panose="02020603050405020304" pitchFamily="18" charset="0"/>
              </a:rPr>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This content can be downloaded as a PDF </a:t>
            </a:r>
            <a:r>
              <a:rPr lang="en-US" sz="1100" dirty="0">
                <a:effectLst/>
                <a:latin typeface="Aptos" panose="020B0004020202020204" pitchFamily="34" charset="0"/>
                <a:ea typeface="Aptos" panose="020B0004020202020204" pitchFamily="34" charset="0"/>
                <a:cs typeface="Times New Roman" panose="02020603050405020304" pitchFamily="18" charset="0"/>
              </a:rPr>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or watched on YouTube.</a:t>
            </a:r>
          </a:p>
          <a:p>
            <a:pPr marL="0" marR="0">
              <a:spcBef>
                <a:spcPts val="0"/>
              </a:spcBef>
              <a:spcAft>
                <a:spcPts val="0"/>
              </a:spcAft>
            </a:pPr>
            <a:r>
              <a:rPr lang="en-US" sz="1100" dirty="0">
                <a:effectLst/>
                <a:latin typeface="Aptos" panose="020B0004020202020204" pitchFamily="34" charset="0"/>
                <a:ea typeface="Aptos" panose="020B0004020202020204" pitchFamily="34" charset="0"/>
                <a:cs typeface="Times New Roman" panose="02020603050405020304" pitchFamily="18" charset="0"/>
              </a:rPr>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You can download the source PowerPoint file to run the slide show with the narrations.</a:t>
            </a:r>
          </a:p>
          <a:p>
            <a:pPr marL="0" marR="0">
              <a:spcBef>
                <a:spcPts val="0"/>
              </a:spcBef>
              <a:spcAft>
                <a:spcPts val="0"/>
              </a:spcAft>
            </a:pPr>
            <a:r>
              <a:rPr lang="en-US" sz="1100" dirty="0">
                <a:effectLst/>
                <a:latin typeface="Aptos" panose="020B0004020202020204" pitchFamily="34" charset="0"/>
                <a:ea typeface="Aptos" panose="020B0004020202020204" pitchFamily="34" charset="0"/>
                <a:cs typeface="Times New Roman" panose="02020603050405020304" pitchFamily="18" charset="0"/>
              </a:rPr>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Also, you can go to GitHub to see how the code and data behind the website is structured.</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 </a:t>
            </a:r>
          </a:p>
          <a:p>
            <a:r>
              <a:rPr lang="en-US" sz="1100" dirty="0">
                <a:effectLst/>
                <a:latin typeface="Aptos" panose="020B0004020202020204" pitchFamily="34" charset="0"/>
                <a:ea typeface="Aptos" panose="020B0004020202020204" pitchFamily="34" charset="0"/>
                <a:cs typeface="Times New Roman" panose="02020603050405020304" pitchFamily="18" charset="0"/>
              </a:rPr>
              <a:t>{CLICK}Email me at </a:t>
            </a:r>
            <a:r>
              <a:rPr lang="en-US" sz="1100" u="sng"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3"/>
              </a:rPr>
              <a:t>John@MultimodalSlides.com</a:t>
            </a:r>
            <a:r>
              <a:rPr lang="en-US" sz="1100" dirty="0">
                <a:effectLst/>
                <a:latin typeface="Aptos" panose="020B0004020202020204" pitchFamily="34" charset="0"/>
                <a:ea typeface="Aptos" panose="020B0004020202020204" pitchFamily="34" charset="0"/>
                <a:cs typeface="Times New Roman" panose="02020603050405020304" pitchFamily="18" charset="0"/>
              </a:rPr>
              <a:t> to become a Beta User and to get on the email list.</a:t>
            </a:r>
            <a:endParaRPr lang="en-US" sz="1100" dirty="0"/>
          </a:p>
        </p:txBody>
      </p:sp>
      <p:sp>
        <p:nvSpPr>
          <p:cNvPr id="4" name="Slide Number Placeholder 3"/>
          <p:cNvSpPr>
            <a:spLocks noGrp="1"/>
          </p:cNvSpPr>
          <p:nvPr>
            <p:ph type="sldNum" sz="quarter" idx="5"/>
          </p:nvPr>
        </p:nvSpPr>
        <p:spPr/>
        <p:txBody>
          <a:bodyPr/>
          <a:lstStyle/>
          <a:p>
            <a:fld id="{19786431-D1BB-4F6B-9525-D7C6D0E121EB}" type="slidenum">
              <a:rPr lang="en-US" smtClean="0"/>
              <a:t>14</a:t>
            </a:fld>
            <a:endParaRPr lang="en-US"/>
          </a:p>
        </p:txBody>
      </p:sp>
    </p:spTree>
    <p:extLst>
      <p:ext uri="{BB962C8B-B14F-4D97-AF65-F5344CB8AC3E}">
        <p14:creationId xmlns:p14="http://schemas.microsoft.com/office/powerpoint/2010/main" val="828188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What is Multimodal Content? </a:t>
            </a:r>
          </a:p>
          <a:p>
            <a:pPr marL="0" marR="0">
              <a:spcBef>
                <a:spcPts val="0"/>
              </a:spcBef>
              <a:spcAft>
                <a:spcPts val="0"/>
              </a:spcAft>
            </a:pP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CLICK}Multimodal content refers to information or communication that uses multiple modes or channels to convey a message or meaning.</a:t>
            </a:r>
          </a:p>
          <a:p>
            <a:pPr marL="0" marR="0">
              <a:spcBef>
                <a:spcPts val="0"/>
              </a:spcBef>
              <a:spcAft>
                <a:spcPts val="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CLICK}These modes can include text, images, audio, video, and interactive elements.</a:t>
            </a:r>
          </a:p>
          <a:p>
            <a:pPr marL="0" marR="0">
              <a:spcBef>
                <a:spcPts val="0"/>
              </a:spcBef>
              <a:spcAft>
                <a:spcPts val="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CLICK}The purpose of multimodal content is to enhance the user experience and make the information more engaging and accessible.</a:t>
            </a:r>
          </a:p>
          <a:p>
            <a:pPr marL="0" marR="0">
              <a:spcBef>
                <a:spcPts val="0"/>
              </a:spcBef>
              <a:spcAft>
                <a:spcPts val="0"/>
              </a:spcAft>
            </a:pP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9786431-D1BB-4F6B-9525-D7C6D0E121EB}" type="slidenum">
              <a:rPr lang="en-US" smtClean="0"/>
              <a:t>2</a:t>
            </a:fld>
            <a:endParaRPr lang="en-US"/>
          </a:p>
        </p:txBody>
      </p:sp>
    </p:spTree>
    <p:extLst>
      <p:ext uri="{BB962C8B-B14F-4D97-AF65-F5344CB8AC3E}">
        <p14:creationId xmlns:p14="http://schemas.microsoft.com/office/powerpoint/2010/main" val="2942964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Some Examples include…</a:t>
            </a:r>
          </a:p>
          <a:p>
            <a:pPr marL="0" marR="0">
              <a:spcBef>
                <a:spcPts val="0"/>
              </a:spcBef>
              <a:spcAft>
                <a:spcPts val="0"/>
              </a:spcAft>
            </a:pPr>
            <a:endParaRPr lang="en-US" sz="105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lvl="0" indent="0">
              <a:spcBef>
                <a:spcPts val="0"/>
              </a:spcBef>
              <a:spcAft>
                <a:spcPts val="0"/>
              </a:spcAft>
              <a:buFont typeface="+mj-lt"/>
              <a:buNone/>
              <a:tabLst>
                <a:tab pos="457200" algn="l"/>
              </a:tabLst>
            </a:pPr>
            <a:r>
              <a:rPr lang="en-US" sz="1050" b="1" kern="100" dirty="0">
                <a:effectLst/>
                <a:latin typeface="Aptos" panose="020B0004020202020204" pitchFamily="34" charset="0"/>
                <a:ea typeface="Aptos" panose="020B0004020202020204" pitchFamily="34" charset="0"/>
                <a:cs typeface="Times New Roman" panose="02020603050405020304" pitchFamily="18" charset="0"/>
              </a:rPr>
              <a:t>{CLICK}Educational Videos</a:t>
            </a:r>
            <a:r>
              <a:rPr lang="en-US" sz="1050" kern="100" dirty="0">
                <a:effectLst/>
                <a:latin typeface="Aptos" panose="020B0004020202020204" pitchFamily="34" charset="0"/>
                <a:ea typeface="Aptos" panose="020B0004020202020204" pitchFamily="34" charset="0"/>
                <a:cs typeface="Times New Roman" panose="02020603050405020304" pitchFamily="18" charset="0"/>
              </a:rPr>
              <a:t>: Combining visual aids, spoken explanations, and text annotations to teach a concept.</a:t>
            </a:r>
          </a:p>
          <a:p>
            <a:pPr marL="0" marR="0" lvl="0" indent="0">
              <a:spcBef>
                <a:spcPts val="0"/>
              </a:spcBef>
              <a:spcAft>
                <a:spcPts val="0"/>
              </a:spcAft>
              <a:buFont typeface="+mj-lt"/>
              <a:buNone/>
              <a:tabLst>
                <a:tab pos="457200" algn="l"/>
              </a:tabLst>
            </a:pPr>
            <a:r>
              <a:rPr lang="en-US" sz="1050" b="1" kern="100" dirty="0">
                <a:effectLst/>
                <a:latin typeface="Aptos" panose="020B0004020202020204" pitchFamily="34" charset="0"/>
                <a:ea typeface="Aptos" panose="020B0004020202020204" pitchFamily="34" charset="0"/>
                <a:cs typeface="Times New Roman" panose="02020603050405020304" pitchFamily="18" charset="0"/>
              </a:rPr>
              <a:t>{CLICK}Web Pages</a:t>
            </a:r>
            <a:r>
              <a:rPr lang="en-US" sz="1050" kern="100" dirty="0">
                <a:effectLst/>
                <a:latin typeface="Aptos" panose="020B0004020202020204" pitchFamily="34" charset="0"/>
                <a:ea typeface="Aptos" panose="020B0004020202020204" pitchFamily="34" charset="0"/>
                <a:cs typeface="Times New Roman" panose="02020603050405020304" pitchFamily="18" charset="0"/>
              </a:rPr>
              <a:t>: Using a mix of text, images, videos, and interactive graphics to provide a rich user experience.</a:t>
            </a:r>
          </a:p>
          <a:p>
            <a:pPr marL="0" marR="0" lvl="0" indent="0">
              <a:spcBef>
                <a:spcPts val="0"/>
              </a:spcBef>
              <a:spcAft>
                <a:spcPts val="0"/>
              </a:spcAft>
              <a:buFont typeface="+mj-lt"/>
              <a:buNone/>
              <a:tabLst>
                <a:tab pos="457200" algn="l"/>
              </a:tabLst>
            </a:pPr>
            <a:r>
              <a:rPr lang="en-US" sz="1050" b="1" kern="100" dirty="0">
                <a:effectLst/>
                <a:latin typeface="Aptos" panose="020B0004020202020204" pitchFamily="34" charset="0"/>
                <a:ea typeface="Aptos" panose="020B0004020202020204" pitchFamily="34" charset="0"/>
                <a:cs typeface="Times New Roman" panose="02020603050405020304" pitchFamily="18" charset="0"/>
              </a:rPr>
              <a:t>{CLICK}Presentations</a:t>
            </a:r>
            <a:r>
              <a:rPr lang="en-US" sz="1050" kern="100" dirty="0">
                <a:effectLst/>
                <a:latin typeface="Aptos" panose="020B0004020202020204" pitchFamily="34" charset="0"/>
                <a:ea typeface="Aptos" panose="020B0004020202020204" pitchFamily="34" charset="0"/>
                <a:cs typeface="Times New Roman" panose="02020603050405020304" pitchFamily="18" charset="0"/>
              </a:rPr>
              <a:t>: Incorporating slides with text, images, and videos to support a verbal presentation.</a:t>
            </a:r>
          </a:p>
          <a:p>
            <a:pPr marL="0" marR="0" lvl="0" indent="0">
              <a:spcBef>
                <a:spcPts val="0"/>
              </a:spcBef>
              <a:spcAft>
                <a:spcPts val="0"/>
              </a:spcAft>
              <a:buFont typeface="+mj-lt"/>
              <a:buNone/>
              <a:tabLst>
                <a:tab pos="457200" algn="l"/>
              </a:tabLst>
            </a:pPr>
            <a:r>
              <a:rPr lang="en-US" sz="1050" b="1" kern="100" dirty="0">
                <a:effectLst/>
                <a:latin typeface="Aptos" panose="020B0004020202020204" pitchFamily="34" charset="0"/>
                <a:ea typeface="Aptos" panose="020B0004020202020204" pitchFamily="34" charset="0"/>
                <a:cs typeface="Times New Roman" panose="02020603050405020304" pitchFamily="18" charset="0"/>
              </a:rPr>
              <a:t>{CLICK}Augmented Reality (AR) and Virtual Reality (VR)</a:t>
            </a:r>
            <a:r>
              <a:rPr lang="en-US" sz="1050" kern="100" dirty="0">
                <a:effectLst/>
                <a:latin typeface="Aptos" panose="020B0004020202020204" pitchFamily="34" charset="0"/>
                <a:ea typeface="Aptos" panose="020B0004020202020204" pitchFamily="34" charset="0"/>
                <a:cs typeface="Times New Roman" panose="02020603050405020304" pitchFamily="18" charset="0"/>
              </a:rPr>
              <a:t>: Integrating audio, visual, and sometimes tactile elements to create immersive experiences.</a:t>
            </a:r>
          </a:p>
          <a:p>
            <a:pPr marL="0" marR="0" lvl="0" indent="0">
              <a:spcBef>
                <a:spcPts val="0"/>
              </a:spcBef>
              <a:spcAft>
                <a:spcPts val="0"/>
              </a:spcAft>
              <a:buFont typeface="+mj-lt"/>
              <a:buNone/>
              <a:tabLst>
                <a:tab pos="457200" algn="l"/>
              </a:tabLst>
            </a:pPr>
            <a:r>
              <a:rPr lang="en-US" sz="1050" b="1" kern="100" dirty="0">
                <a:effectLst/>
                <a:latin typeface="Aptos" panose="020B0004020202020204" pitchFamily="34" charset="0"/>
                <a:ea typeface="Aptos" panose="020B0004020202020204" pitchFamily="34" charset="0"/>
                <a:cs typeface="Times New Roman" panose="02020603050405020304" pitchFamily="18" charset="0"/>
              </a:rPr>
              <a:t>{CLICK}Interactive Infographics</a:t>
            </a:r>
            <a:r>
              <a:rPr lang="en-US" sz="1050" kern="100" dirty="0">
                <a:effectLst/>
                <a:latin typeface="Aptos" panose="020B0004020202020204" pitchFamily="34" charset="0"/>
                <a:ea typeface="Aptos" panose="020B0004020202020204" pitchFamily="34" charset="0"/>
                <a:cs typeface="Times New Roman" panose="02020603050405020304" pitchFamily="18" charset="0"/>
              </a:rPr>
              <a:t>: Combining data visualization, text, and interactive elements to present complex information clearly.</a:t>
            </a: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050" kern="100" dirty="0">
                <a:effectLst/>
                <a:latin typeface="Aptos" panose="020B0004020202020204" pitchFamily="34" charset="0"/>
                <a:ea typeface="Aptos" panose="020B0004020202020204" pitchFamily="34" charset="0"/>
                <a:cs typeface="Times New Roman" panose="02020603050405020304" pitchFamily="18" charset="0"/>
              </a:rPr>
              <a:t>By leveraging multiple modes, content creators can cater to different learning styles and preferences, making the information more accessible and engaging.</a:t>
            </a:r>
          </a:p>
        </p:txBody>
      </p:sp>
      <p:sp>
        <p:nvSpPr>
          <p:cNvPr id="4" name="Slide Number Placeholder 3"/>
          <p:cNvSpPr>
            <a:spLocks noGrp="1"/>
          </p:cNvSpPr>
          <p:nvPr>
            <p:ph type="sldNum" sz="quarter" idx="5"/>
          </p:nvPr>
        </p:nvSpPr>
        <p:spPr/>
        <p:txBody>
          <a:bodyPr/>
          <a:lstStyle/>
          <a:p>
            <a:fld id="{19786431-D1BB-4F6B-9525-D7C6D0E121EB}" type="slidenum">
              <a:rPr lang="en-US" smtClean="0"/>
              <a:t>3</a:t>
            </a:fld>
            <a:endParaRPr lang="en-US"/>
          </a:p>
        </p:txBody>
      </p:sp>
    </p:spTree>
    <p:extLst>
      <p:ext uri="{BB962C8B-B14F-4D97-AF65-F5344CB8AC3E}">
        <p14:creationId xmlns:p14="http://schemas.microsoft.com/office/powerpoint/2010/main" val="1559274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dirty="0"/>
              <a:t>Why should you create Multimodal Content?</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CLICK}“The world is moving to a place where content needs to be in </a:t>
            </a:r>
            <a:r>
              <a:rPr lang="en-US" sz="1100" b="1" kern="100" dirty="0">
                <a:effectLst/>
                <a:latin typeface="Aptos" panose="020B0004020202020204" pitchFamily="34" charset="0"/>
                <a:ea typeface="Aptos" panose="020B0004020202020204" pitchFamily="34" charset="0"/>
                <a:cs typeface="Times New Roman" panose="02020603050405020304" pitchFamily="18" charset="0"/>
              </a:rPr>
              <a:t>multiple forms</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 because consumers are consuming content in </a:t>
            </a:r>
            <a:r>
              <a:rPr lang="en-US" sz="1100" b="1" kern="100" dirty="0">
                <a:effectLst/>
                <a:latin typeface="Aptos" panose="020B0004020202020204" pitchFamily="34" charset="0"/>
                <a:ea typeface="Aptos" panose="020B0004020202020204" pitchFamily="34" charset="0"/>
                <a:cs typeface="Times New Roman" panose="02020603050405020304" pitchFamily="18" charset="0"/>
              </a:rPr>
              <a:t>multiple ways</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 - said by Gary </a:t>
            </a:r>
            <a:r>
              <a:rPr lang="en-US" sz="1100" kern="100" dirty="0" err="1">
                <a:effectLst/>
                <a:latin typeface="Aptos" panose="020B0004020202020204" pitchFamily="34" charset="0"/>
                <a:ea typeface="Aptos" panose="020B0004020202020204" pitchFamily="34" charset="0"/>
                <a:cs typeface="Times New Roman" panose="02020603050405020304" pitchFamily="18" charset="0"/>
              </a:rPr>
              <a:t>Vaynerchu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 (also known as Gary V.)</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CLICK}Well, does this sound </a:t>
            </a:r>
            <a:r>
              <a:rPr lang="en-US" sz="1100" b="1" kern="100" dirty="0">
                <a:effectLst/>
                <a:latin typeface="Aptos" panose="020B0004020202020204" pitchFamily="34" charset="0"/>
                <a:ea typeface="Aptos" panose="020B0004020202020204" pitchFamily="34" charset="0"/>
                <a:cs typeface="Times New Roman" panose="02020603050405020304" pitchFamily="18" charset="0"/>
              </a:rPr>
              <a:t>overwhelming?</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CLICK}It sounds like you need a lot of different tools, {CLICK}and a lot of </a:t>
            </a:r>
            <a:r>
              <a:rPr lang="en-US" sz="1100" b="1" kern="100" dirty="0">
                <a:effectLst/>
                <a:latin typeface="Aptos" panose="020B0004020202020204" pitchFamily="34" charset="0"/>
                <a:ea typeface="Aptos" panose="020B0004020202020204" pitchFamily="34" charset="0"/>
                <a:cs typeface="Times New Roman" panose="02020603050405020304" pitchFamily="18" charset="0"/>
              </a:rPr>
              <a:t>effort,</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 and maybe more people, to manage and publish content in multiple ways.</a:t>
            </a:r>
          </a:p>
          <a:p>
            <a:pPr marL="0" marR="0">
              <a:spcBef>
                <a:spcPts val="0"/>
              </a:spcBef>
              <a:spcAft>
                <a:spcPts val="0"/>
              </a:spcAft>
            </a:pP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Overall, this sounds painful and not practical to manage.</a:t>
            </a:r>
          </a:p>
          <a:p>
            <a:endParaRPr lang="en-US" sz="1100" dirty="0"/>
          </a:p>
        </p:txBody>
      </p:sp>
      <p:sp>
        <p:nvSpPr>
          <p:cNvPr id="4" name="Slide Number Placeholder 3"/>
          <p:cNvSpPr>
            <a:spLocks noGrp="1"/>
          </p:cNvSpPr>
          <p:nvPr>
            <p:ph type="sldNum" sz="quarter" idx="5"/>
          </p:nvPr>
        </p:nvSpPr>
        <p:spPr/>
        <p:txBody>
          <a:bodyPr/>
          <a:lstStyle/>
          <a:p>
            <a:fld id="{19786431-D1BB-4F6B-9525-D7C6D0E121EB}" type="slidenum">
              <a:rPr lang="en-US" smtClean="0"/>
              <a:t>4</a:t>
            </a:fld>
            <a:endParaRPr lang="en-US"/>
          </a:p>
        </p:txBody>
      </p:sp>
    </p:spTree>
    <p:extLst>
      <p:ext uri="{BB962C8B-B14F-4D97-AF65-F5344CB8AC3E}">
        <p14:creationId xmlns:p14="http://schemas.microsoft.com/office/powerpoint/2010/main" val="3191867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Let’s first acknowledge and break down this problem.  Creating, converting, and publishing multimodal content {CLICK}requires a lot of effort.</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CLICK}Let’s start simple, you can create a document in Microsoft Word or diagram in another tool, convert it to a PDF or images, and then publish it by emailing the attachments.</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CLICK}A more common example, is to use a web page editor within a platform like WordPress, to where it converts the HTML content into a blog post, and then handles making it live in your website.</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CLICK}Nowadays, more people are using markdown in a platform like a Wiki, to where it compiles and converts to HTML content, and then handles making it live in your Wiki.</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CLICK}When it comes to video, many people use Camtasia, then export the video to a .mp4 file, and then upload it to a video platform like YouTube.</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CLICK}For audio, many people use Audacity, then export the video to a .mp3 file, and then upload it to a podcast platform like Spotify.</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CLICK}And finally, there are a websites dedicated to sharing presentation files, to where you can upload your PowerPoint file, and the website will handle converting and sharing the presentation.</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900" kern="100" dirty="0">
                <a:effectLst/>
                <a:latin typeface="Aptos" panose="020B0004020202020204" pitchFamily="34" charset="0"/>
                <a:ea typeface="Aptos" panose="020B0004020202020204" pitchFamily="34" charset="0"/>
                <a:cs typeface="Times New Roman" panose="02020603050405020304" pitchFamily="18" charset="0"/>
              </a:rPr>
              <a:t>In summary, there are {CLICK}too many editors needed, {CLICK}too many outputs to understand and manage, {CLICK}and too many ways to manage on how you share your content.  Therefore, {CLICK}this is why most of us do not create Multimodal content.  It is too hard.</a:t>
            </a:r>
          </a:p>
        </p:txBody>
      </p:sp>
      <p:sp>
        <p:nvSpPr>
          <p:cNvPr id="4" name="Slide Number Placeholder 3"/>
          <p:cNvSpPr>
            <a:spLocks noGrp="1"/>
          </p:cNvSpPr>
          <p:nvPr>
            <p:ph type="sldNum" sz="quarter" idx="5"/>
          </p:nvPr>
        </p:nvSpPr>
        <p:spPr/>
        <p:txBody>
          <a:bodyPr/>
          <a:lstStyle/>
          <a:p>
            <a:fld id="{19786431-D1BB-4F6B-9525-D7C6D0E121EB}" type="slidenum">
              <a:rPr lang="en-US" smtClean="0"/>
              <a:t>5</a:t>
            </a:fld>
            <a:endParaRPr lang="en-US"/>
          </a:p>
        </p:txBody>
      </p:sp>
    </p:spTree>
    <p:extLst>
      <p:ext uri="{BB962C8B-B14F-4D97-AF65-F5344CB8AC3E}">
        <p14:creationId xmlns:p14="http://schemas.microsoft.com/office/powerpoint/2010/main" val="3334426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Creating, converting, and publishing Content needs to be Easier!</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CLICK}Ideally, we want to use one editing tool, {CLICK}we want our outputs to be managed automatically, and {CLICK}we want our publishing to be easily managed.</a:t>
            </a:r>
          </a:p>
        </p:txBody>
      </p:sp>
      <p:sp>
        <p:nvSpPr>
          <p:cNvPr id="4" name="Slide Number Placeholder 3"/>
          <p:cNvSpPr>
            <a:spLocks noGrp="1"/>
          </p:cNvSpPr>
          <p:nvPr>
            <p:ph type="sldNum" sz="quarter" idx="5"/>
          </p:nvPr>
        </p:nvSpPr>
        <p:spPr/>
        <p:txBody>
          <a:bodyPr/>
          <a:lstStyle/>
          <a:p>
            <a:fld id="{19786431-D1BB-4F6B-9525-D7C6D0E121EB}" type="slidenum">
              <a:rPr lang="en-US" smtClean="0"/>
              <a:t>6</a:t>
            </a:fld>
            <a:endParaRPr lang="en-US"/>
          </a:p>
        </p:txBody>
      </p:sp>
    </p:spTree>
    <p:extLst>
      <p:ext uri="{BB962C8B-B14F-4D97-AF65-F5344CB8AC3E}">
        <p14:creationId xmlns:p14="http://schemas.microsoft.com/office/powerpoint/2010/main" val="32916103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Let’s see how Multimodal Slides can make this easier.</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Multimodal Slides is based on using slide editing tools that you are already using, like PowerPoint. {CLICK}To make some creation tasks faster, Multimodal Slides uses some practical A.I. assistance, if needed. {CLICK}Next, Multimodal Slides can generate multimodal content that can then{CLICK} be published to a website.</a:t>
            </a:r>
          </a:p>
        </p:txBody>
      </p:sp>
      <p:sp>
        <p:nvSpPr>
          <p:cNvPr id="4" name="Slide Number Placeholder 3"/>
          <p:cNvSpPr>
            <a:spLocks noGrp="1"/>
          </p:cNvSpPr>
          <p:nvPr>
            <p:ph type="sldNum" sz="quarter" idx="5"/>
          </p:nvPr>
        </p:nvSpPr>
        <p:spPr/>
        <p:txBody>
          <a:bodyPr/>
          <a:lstStyle/>
          <a:p>
            <a:fld id="{19786431-D1BB-4F6B-9525-D7C6D0E121EB}" type="slidenum">
              <a:rPr lang="en-US" smtClean="0"/>
              <a:t>7</a:t>
            </a:fld>
            <a:endParaRPr lang="en-US"/>
          </a:p>
        </p:txBody>
      </p:sp>
    </p:spTree>
    <p:extLst>
      <p:ext uri="{BB962C8B-B14F-4D97-AF65-F5344CB8AC3E}">
        <p14:creationId xmlns:p14="http://schemas.microsoft.com/office/powerpoint/2010/main" val="1558444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For example, {CLICK}Multimodal Slides can use Text-to-Speech to convert your slide notes to a narration audio clip.  PowerPoint has a built-in feature for you to manually record your presentation to where the audio clip is saved per slide.  By itself, it is an awesome feature.  However, if you want to simply type what you would say, then Multimodal Slides can handle the Text-to-Speech conversion along with the timestamps of your animations.</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CLICK}Multimodal Slides will convert your slides to SVG images, export narration audio clips as .mp3 files, and create HTML using the reveal.js standard.  Reveal.js is a free and open source HTML presentation framework.</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CLICK}Once everything is converted, Multimodal Slides copy all converted content to your GitHub repository, you can then use GitHub Pages to Host a site for free.  Since this is your GitHub repository, you own and control all converted content.</a:t>
            </a:r>
          </a:p>
        </p:txBody>
      </p:sp>
      <p:sp>
        <p:nvSpPr>
          <p:cNvPr id="4" name="Slide Number Placeholder 3"/>
          <p:cNvSpPr>
            <a:spLocks noGrp="1"/>
          </p:cNvSpPr>
          <p:nvPr>
            <p:ph type="sldNum" sz="quarter" idx="5"/>
          </p:nvPr>
        </p:nvSpPr>
        <p:spPr/>
        <p:txBody>
          <a:bodyPr/>
          <a:lstStyle/>
          <a:p>
            <a:fld id="{19786431-D1BB-4F6B-9525-D7C6D0E121EB}" type="slidenum">
              <a:rPr lang="en-US" smtClean="0"/>
              <a:t>8</a:t>
            </a:fld>
            <a:endParaRPr lang="en-US"/>
          </a:p>
        </p:txBody>
      </p:sp>
    </p:spTree>
    <p:extLst>
      <p:ext uri="{BB962C8B-B14F-4D97-AF65-F5344CB8AC3E}">
        <p14:creationId xmlns:p14="http://schemas.microsoft.com/office/powerpoint/2010/main" val="42821704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If interested, email me at </a:t>
            </a:r>
            <a:r>
              <a:rPr lang="en-US" sz="11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3"/>
              </a:rPr>
              <a:t>John@MultimodalSlides.com</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 to become a Beta User.</a:t>
            </a:r>
          </a:p>
          <a:p>
            <a:pPr marL="0" marR="0">
              <a:spcBef>
                <a:spcPts val="0"/>
              </a:spcBef>
              <a:spcAft>
                <a:spcPts val="0"/>
              </a:spcAft>
            </a:pP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100" dirty="0"/>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Overall, I’m looking for PowerPoint users, speakers, trainers, teachers, documentarians, and bloggers.  Availability is limited.</a:t>
            </a:r>
          </a:p>
          <a:p>
            <a:pPr marL="0" marR="0">
              <a:spcBef>
                <a:spcPts val="0"/>
              </a:spcBef>
              <a:spcAft>
                <a:spcPts val="0"/>
              </a:spcAft>
            </a:pPr>
            <a:r>
              <a:rPr lang="en-US" sz="1100" dirty="0"/>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Help me shape Multimodal Slides to provide what is important to you.</a:t>
            </a:r>
          </a:p>
          <a:p>
            <a:pPr marL="0" marR="0">
              <a:spcBef>
                <a:spcPts val="0"/>
              </a:spcBef>
              <a:spcAft>
                <a:spcPts val="0"/>
              </a:spcAft>
            </a:pPr>
            <a:r>
              <a:rPr lang="en-US" sz="1100" dirty="0"/>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Also, by emailing me, you will be added to my email list, to get updates on progress and releases.</a:t>
            </a:r>
          </a:p>
          <a:p>
            <a:pPr marL="0" marR="0">
              <a:spcBef>
                <a:spcPts val="0"/>
              </a:spcBef>
              <a:spcAft>
                <a:spcPts val="0"/>
              </a:spcAft>
            </a:pP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100" dirty="0"/>
              <a:t>{CLICK}</a:t>
            </a:r>
            <a:r>
              <a:rPr lang="en-US" sz="1100" kern="100" dirty="0">
                <a:effectLst/>
                <a:latin typeface="Aptos" panose="020B0004020202020204" pitchFamily="34" charset="0"/>
                <a:ea typeface="Aptos" panose="020B0004020202020204" pitchFamily="34" charset="0"/>
                <a:cs typeface="Times New Roman" panose="02020603050405020304" pitchFamily="18" charset="0"/>
              </a:rPr>
              <a:t>Feel free to take a pause, and email me now.</a:t>
            </a:r>
          </a:p>
        </p:txBody>
      </p:sp>
      <p:sp>
        <p:nvSpPr>
          <p:cNvPr id="4" name="Slide Number Placeholder 3"/>
          <p:cNvSpPr>
            <a:spLocks noGrp="1"/>
          </p:cNvSpPr>
          <p:nvPr>
            <p:ph type="sldNum" sz="quarter" idx="5"/>
          </p:nvPr>
        </p:nvSpPr>
        <p:spPr/>
        <p:txBody>
          <a:bodyPr/>
          <a:lstStyle/>
          <a:p>
            <a:fld id="{19786431-D1BB-4F6B-9525-D7C6D0E121EB}" type="slidenum">
              <a:rPr lang="en-US" smtClean="0"/>
              <a:t>9</a:t>
            </a:fld>
            <a:endParaRPr lang="en-US"/>
          </a:p>
        </p:txBody>
      </p:sp>
    </p:spTree>
    <p:extLst>
      <p:ext uri="{BB962C8B-B14F-4D97-AF65-F5344CB8AC3E}">
        <p14:creationId xmlns:p14="http://schemas.microsoft.com/office/powerpoint/2010/main" val="21315140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John@MultimodalSlides.com?subject=I%20am%20interested%20in%20Multimodal%20Slides"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8064A2"/>
        </a:solidFill>
        <a:effectLst/>
      </p:bgPr>
    </p:bg>
    <p:spTree>
      <p:nvGrpSpPr>
        <p:cNvPr id="1" name=""/>
        <p:cNvGrpSpPr/>
        <p:nvPr/>
      </p:nvGrpSpPr>
      <p:grpSpPr>
        <a:xfrm>
          <a:off x="0" y="0"/>
          <a:ext cx="0" cy="0"/>
          <a:chOff x="0" y="0"/>
          <a:chExt cx="0" cy="0"/>
        </a:xfrm>
      </p:grpSpPr>
      <p:sp>
        <p:nvSpPr>
          <p:cNvPr id="2" name="TitlePlaceholder"/>
          <p:cNvSpPr>
            <a:spLocks noGrp="1"/>
          </p:cNvSpPr>
          <p:nvPr>
            <p:ph type="ctrTitle" hasCustomPrompt="1"/>
          </p:nvPr>
        </p:nvSpPr>
        <p:spPr>
          <a:xfrm>
            <a:off x="604983" y="355746"/>
            <a:ext cx="10982036" cy="3035154"/>
          </a:xfrm>
        </p:spPr>
        <p:txBody>
          <a:bodyPr anchor="b"/>
          <a:lstStyle>
            <a:lvl1pPr algn="ctr">
              <a:defRPr sz="6000" b="1">
                <a:solidFill>
                  <a:schemeClr val="bg1"/>
                </a:solidFill>
              </a:defRPr>
            </a:lvl1pPr>
          </a:lstStyle>
          <a:p>
            <a:r>
              <a:rPr lang="en-US" dirty="0"/>
              <a:t>{Presentation Title Here}</a:t>
            </a:r>
          </a:p>
        </p:txBody>
      </p:sp>
      <p:sp>
        <p:nvSpPr>
          <p:cNvPr id="11" name="ContentPlaceholder2"/>
          <p:cNvSpPr>
            <a:spLocks noGrp="1"/>
          </p:cNvSpPr>
          <p:nvPr>
            <p:ph sz="quarter" idx="14" hasCustomPrompt="1"/>
          </p:nvPr>
        </p:nvSpPr>
        <p:spPr>
          <a:xfrm>
            <a:off x="604983" y="3698644"/>
            <a:ext cx="3932960" cy="2803609"/>
          </a:xfrm>
        </p:spPr>
        <p:txBody>
          <a:bodyPr>
            <a:normAutofit/>
          </a:bodyPr>
          <a:lstStyle>
            <a:lvl1pPr>
              <a:defRPr sz="2000">
                <a:solidFill>
                  <a:schemeClr val="bg2">
                    <a:lumMod val="25000"/>
                  </a:schemeClr>
                </a:solidFill>
              </a:defRPr>
            </a:lvl1pPr>
          </a:lstStyle>
          <a:p>
            <a:pPr lvl="0"/>
            <a:r>
              <a:rPr lang="en-US" dirty="0"/>
              <a:t>{Info Here}</a:t>
            </a:r>
          </a:p>
        </p:txBody>
      </p:sp>
      <p:sp>
        <p:nvSpPr>
          <p:cNvPr id="10" name="GuideRectangle2" hidden="1"/>
          <p:cNvSpPr/>
          <p:nvPr userDrawn="1"/>
        </p:nvSpPr>
        <p:spPr>
          <a:xfrm>
            <a:off x="6581123" y="3636993"/>
            <a:ext cx="5005896" cy="165024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GuideRectangle">
            <a:extLst>
              <a:ext uri="{FF2B5EF4-FFF2-40B4-BE49-F238E27FC236}">
                <a16:creationId xmlns:a16="http://schemas.microsoft.com/office/drawing/2014/main" id="{64F8EEA9-F4E1-4273-8EAA-C60EF4845D94}"/>
              </a:ext>
            </a:extLst>
          </p:cNvPr>
          <p:cNvSpPr/>
          <p:nvPr userDrawn="1"/>
        </p:nvSpPr>
        <p:spPr>
          <a:xfrm>
            <a:off x="0" y="0"/>
            <a:ext cx="12192000" cy="68580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Email">
            <a:extLst>
              <a:ext uri="{FF2B5EF4-FFF2-40B4-BE49-F238E27FC236}">
                <a16:creationId xmlns:a16="http://schemas.microsoft.com/office/drawing/2014/main" id="{2EA51A78-3E30-6DD7-5F26-DF36B31A3A37}"/>
              </a:ext>
            </a:extLst>
          </p:cNvPr>
          <p:cNvSpPr txBox="1"/>
          <p:nvPr userDrawn="1"/>
        </p:nvSpPr>
        <p:spPr>
          <a:xfrm>
            <a:off x="5235262" y="5756171"/>
            <a:ext cx="6351755" cy="646331"/>
          </a:xfrm>
          <a:prstGeom prst="rect">
            <a:avLst/>
          </a:prstGeom>
          <a:noFill/>
        </p:spPr>
        <p:txBody>
          <a:bodyPr wrap="square" rtlCol="0">
            <a:spAutoFit/>
          </a:bodyPr>
          <a:lstStyle/>
          <a:p>
            <a:pPr algn="r"/>
            <a:r>
              <a:rPr lang="en-US" sz="3600" b="0" dirty="0">
                <a:solidFill>
                  <a:schemeClr val="bg1"/>
                </a:solidFill>
                <a:hlinkClick r:id="rId2"/>
              </a:rPr>
              <a:t>John@MultimodalSlides.com</a:t>
            </a:r>
            <a:r>
              <a:rPr lang="en-US" sz="3600" b="0" dirty="0">
                <a:solidFill>
                  <a:schemeClr val="bg1"/>
                </a:solidFill>
              </a:rPr>
              <a:t> </a:t>
            </a:r>
          </a:p>
        </p:txBody>
      </p:sp>
      <p:sp>
        <p:nvSpPr>
          <p:cNvPr id="8" name="SectionNameTextPlaceholder">
            <a:extLst>
              <a:ext uri="{FF2B5EF4-FFF2-40B4-BE49-F238E27FC236}">
                <a16:creationId xmlns:a16="http://schemas.microsoft.com/office/drawing/2014/main" id="{A91BD386-B3D0-8617-ADCB-10425E360F9B}"/>
              </a:ext>
            </a:extLst>
          </p:cNvPr>
          <p:cNvSpPr>
            <a:spLocks noGrp="1"/>
          </p:cNvSpPr>
          <p:nvPr>
            <p:ph type="body" idx="1" hasCustomPrompt="1"/>
          </p:nvPr>
        </p:nvSpPr>
        <p:spPr>
          <a:xfrm>
            <a:off x="6" y="6536608"/>
            <a:ext cx="4128655" cy="313241"/>
          </a:xfrm>
        </p:spPr>
        <p:txBody>
          <a:bodyPr anchor="b">
            <a:normAutofit/>
          </a:bodyPr>
          <a:lstStyle>
            <a:lvl1pPr marL="0" indent="0">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pic>
        <p:nvPicPr>
          <p:cNvPr id="9" name="Logo" descr="A close up of a sign&#10;&#10;Description automatically generated">
            <a:extLst>
              <a:ext uri="{FF2B5EF4-FFF2-40B4-BE49-F238E27FC236}">
                <a16:creationId xmlns:a16="http://schemas.microsoft.com/office/drawing/2014/main" id="{4BD6F1F7-F70E-4182-D84F-5AAC5BC689CE}"/>
              </a:ext>
            </a:extLst>
          </p:cNvPr>
          <p:cNvPicPr>
            <a:picLocks noChangeAspect="1"/>
          </p:cNvPicPr>
          <p:nvPr userDrawn="1"/>
        </p:nvPicPr>
        <p:blipFill rotWithShape="1">
          <a:blip r:embed="rId3"/>
          <a:srcRect t="3152" r="4016" b="24466"/>
          <a:stretch/>
        </p:blipFill>
        <p:spPr>
          <a:xfrm>
            <a:off x="5690141" y="3639553"/>
            <a:ext cx="5950412" cy="1991226"/>
          </a:xfrm>
          <a:prstGeom prst="rect">
            <a:avLst/>
          </a:prstGeom>
        </p:spPr>
      </p:pic>
    </p:spTree>
    <p:extLst>
      <p:ext uri="{BB962C8B-B14F-4D97-AF65-F5344CB8AC3E}">
        <p14:creationId xmlns:p14="http://schemas.microsoft.com/office/powerpoint/2010/main" val="41959762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TopRectangle">
            <a:extLst>
              <a:ext uri="{FF2B5EF4-FFF2-40B4-BE49-F238E27FC236}">
                <a16:creationId xmlns:a16="http://schemas.microsoft.com/office/drawing/2014/main" id="{F4435E09-25E0-4B9F-9F9E-049B72FF8DBD}"/>
              </a:ext>
            </a:extLst>
          </p:cNvPr>
          <p:cNvSpPr/>
          <p:nvPr userDrawn="1"/>
        </p:nvSpPr>
        <p:spPr>
          <a:xfrm>
            <a:off x="0" y="0"/>
            <a:ext cx="12192000" cy="3498980"/>
          </a:xfrm>
          <a:prstGeom prst="rect">
            <a:avLst/>
          </a:prstGeom>
          <a:solidFill>
            <a:srgbClr val="8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Placeholder"/>
          <p:cNvSpPr>
            <a:spLocks noGrp="1"/>
          </p:cNvSpPr>
          <p:nvPr>
            <p:ph sz="half" idx="2" hasCustomPrompt="1"/>
          </p:nvPr>
        </p:nvSpPr>
        <p:spPr>
          <a:xfrm>
            <a:off x="5193797" y="3566160"/>
            <a:ext cx="6684265" cy="2807208"/>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Placeholder"/>
          <p:cNvSpPr>
            <a:spLocks noGrp="1"/>
          </p:cNvSpPr>
          <p:nvPr>
            <p:ph type="ftr" sz="quarter" idx="11"/>
          </p:nvPr>
        </p:nvSpPr>
        <p:spPr>
          <a:xfrm>
            <a:off x="4128656" y="6536609"/>
            <a:ext cx="3990109" cy="313241"/>
          </a:xfrm>
        </p:spPr>
        <p:txBody>
          <a:bodyPr/>
          <a:lstStyle>
            <a:lvl1pPr algn="ctr">
              <a:defRPr>
                <a:solidFill>
                  <a:schemeClr val="accent1"/>
                </a:solidFill>
              </a:defRPr>
            </a:lvl1pPr>
          </a:lstStyle>
          <a:p>
            <a:endParaRPr lang="en-US" dirty="0"/>
          </a:p>
        </p:txBody>
      </p:sp>
      <p:sp>
        <p:nvSpPr>
          <p:cNvPr id="9" name="SlideNumberPlaceholde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10" name="SectionNameTextPlaceholder"/>
          <p:cNvSpPr>
            <a:spLocks noGrp="1"/>
          </p:cNvSpPr>
          <p:nvPr>
            <p:ph type="title" hasCustomPrompt="1"/>
          </p:nvPr>
        </p:nvSpPr>
        <p:spPr>
          <a:xfrm>
            <a:off x="314040" y="2761488"/>
            <a:ext cx="11564023" cy="642796"/>
          </a:xfrm>
        </p:spPr>
        <p:txBody>
          <a:bodyPr>
            <a:normAutofit/>
          </a:bodyPr>
          <a:lstStyle>
            <a:lvl1pPr>
              <a:defRPr sz="4000">
                <a:solidFill>
                  <a:schemeClr val="bg1"/>
                </a:solidFill>
              </a:defRPr>
            </a:lvl1pPr>
          </a:lstStyle>
          <a:p>
            <a:r>
              <a:rPr lang="en-US" dirty="0"/>
              <a:t>{Section Name Here}</a:t>
            </a:r>
          </a:p>
        </p:txBody>
      </p:sp>
      <p:sp>
        <p:nvSpPr>
          <p:cNvPr id="6" name="GuideRectangle" hidden="1"/>
          <p:cNvSpPr/>
          <p:nvPr userDrawn="1"/>
        </p:nvSpPr>
        <p:spPr>
          <a:xfrm>
            <a:off x="5193797" y="3566160"/>
            <a:ext cx="6684264" cy="28072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ectionNameTextPlaceholder">
            <a:extLst>
              <a:ext uri="{FF2B5EF4-FFF2-40B4-BE49-F238E27FC236}">
                <a16:creationId xmlns:a16="http://schemas.microsoft.com/office/drawing/2014/main" id="{084F704A-EC97-A694-A925-431889C30B52}"/>
              </a:ext>
            </a:extLst>
          </p:cNvPr>
          <p:cNvSpPr>
            <a:spLocks noGrp="1"/>
          </p:cNvSpPr>
          <p:nvPr>
            <p:ph type="body" idx="1" hasCustomPrompt="1"/>
          </p:nvPr>
        </p:nvSpPr>
        <p:spPr>
          <a:xfrm>
            <a:off x="6" y="6536608"/>
            <a:ext cx="4128655" cy="313241"/>
          </a:xfrm>
        </p:spPr>
        <p:txBody>
          <a:bodyPr anchor="b">
            <a:normAutofit/>
          </a:bodyPr>
          <a:lstStyle>
            <a:lvl1pPr marL="0" indent="0">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Tree>
    <p:extLst>
      <p:ext uri="{BB962C8B-B14F-4D97-AF65-F5344CB8AC3E}">
        <p14:creationId xmlns:p14="http://schemas.microsoft.com/office/powerpoint/2010/main" val="18074764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ull Content Area">
    <p:spTree>
      <p:nvGrpSpPr>
        <p:cNvPr id="1" name=""/>
        <p:cNvGrpSpPr/>
        <p:nvPr/>
      </p:nvGrpSpPr>
      <p:grpSpPr>
        <a:xfrm>
          <a:off x="0" y="0"/>
          <a:ext cx="0" cy="0"/>
          <a:chOff x="0" y="0"/>
          <a:chExt cx="0" cy="0"/>
        </a:xfrm>
      </p:grpSpPr>
      <p:sp>
        <p:nvSpPr>
          <p:cNvPr id="3" name="SectionNameTextPlaceholder"/>
          <p:cNvSpPr>
            <a:spLocks noGrp="1"/>
          </p:cNvSpPr>
          <p:nvPr>
            <p:ph type="body" idx="1" hasCustomPrompt="1"/>
          </p:nvPr>
        </p:nvSpPr>
        <p:spPr>
          <a:xfrm>
            <a:off x="6" y="6536608"/>
            <a:ext cx="4128655" cy="313241"/>
          </a:xfrm>
        </p:spPr>
        <p:txBody>
          <a:bodyPr anchor="b">
            <a:normAutofit/>
          </a:bodyPr>
          <a:lstStyle>
            <a:lvl1pPr marL="0" indent="0">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8" name="FooterPlaceholder"/>
          <p:cNvSpPr>
            <a:spLocks noGrp="1"/>
          </p:cNvSpPr>
          <p:nvPr>
            <p:ph type="ftr" sz="quarter" idx="11"/>
          </p:nvPr>
        </p:nvSpPr>
        <p:spPr>
          <a:xfrm>
            <a:off x="4128656" y="6536609"/>
            <a:ext cx="3990109" cy="313241"/>
          </a:xfrm>
        </p:spPr>
        <p:txBody>
          <a:bodyPr/>
          <a:lstStyle>
            <a:lvl1pPr algn="ctr">
              <a:defRPr>
                <a:solidFill>
                  <a:schemeClr val="accent1"/>
                </a:solidFill>
              </a:defRPr>
            </a:lvl1pPr>
          </a:lstStyle>
          <a:p>
            <a:endParaRPr lang="en-US" dirty="0"/>
          </a:p>
        </p:txBody>
      </p:sp>
      <p:sp>
        <p:nvSpPr>
          <p:cNvPr id="9" name="SlideNumberPlaceholde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10" name="TitlePlaceholder"/>
          <p:cNvSpPr>
            <a:spLocks noGrp="1"/>
          </p:cNvSpPr>
          <p:nvPr>
            <p:ph type="title" hasCustomPrompt="1"/>
          </p:nvPr>
        </p:nvSpPr>
        <p:spPr>
          <a:xfrm>
            <a:off x="0" y="0"/>
            <a:ext cx="12192000" cy="642796"/>
          </a:xfrm>
          <a:solidFill>
            <a:srgbClr val="8064A2"/>
          </a:solidFill>
        </p:spPr>
        <p:txBody>
          <a:bodyPr>
            <a:normAutofit/>
          </a:bodyPr>
          <a:lstStyle>
            <a:lvl1pPr>
              <a:defRPr sz="3200">
                <a:solidFill>
                  <a:schemeClr val="bg1"/>
                </a:solidFill>
              </a:defRPr>
            </a:lvl1pPr>
          </a:lstStyle>
          <a:p>
            <a:r>
              <a:rPr lang="en-US" dirty="0"/>
              <a:t>{Title Here}</a:t>
            </a:r>
          </a:p>
        </p:txBody>
      </p:sp>
      <p:sp>
        <p:nvSpPr>
          <p:cNvPr id="7" name="ReferenceTextPlaceholder"/>
          <p:cNvSpPr>
            <a:spLocks noGrp="1"/>
          </p:cNvSpPr>
          <p:nvPr>
            <p:ph type="body" sz="quarter" idx="3" hasCustomPrompt="1"/>
          </p:nvPr>
        </p:nvSpPr>
        <p:spPr>
          <a:xfrm>
            <a:off x="5176998" y="0"/>
            <a:ext cx="7015007"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
        <p:nvSpPr>
          <p:cNvPr id="11" name="ContentPlaceholder">
            <a:extLst>
              <a:ext uri="{FF2B5EF4-FFF2-40B4-BE49-F238E27FC236}">
                <a16:creationId xmlns:a16="http://schemas.microsoft.com/office/drawing/2014/main" id="{C7E541B3-3C1F-46E3-8AC8-53985C99C4C0}"/>
              </a:ext>
            </a:extLst>
          </p:cNvPr>
          <p:cNvSpPr>
            <a:spLocks noGrp="1"/>
          </p:cNvSpPr>
          <p:nvPr>
            <p:ph sz="half" idx="2" hasCustomPrompt="1"/>
          </p:nvPr>
        </p:nvSpPr>
        <p:spPr>
          <a:xfrm>
            <a:off x="64653" y="689684"/>
            <a:ext cx="12053455" cy="5774616"/>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059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rtial Content Area">
    <p:spTree>
      <p:nvGrpSpPr>
        <p:cNvPr id="1" name=""/>
        <p:cNvGrpSpPr/>
        <p:nvPr/>
      </p:nvGrpSpPr>
      <p:grpSpPr>
        <a:xfrm>
          <a:off x="0" y="0"/>
          <a:ext cx="0" cy="0"/>
          <a:chOff x="0" y="0"/>
          <a:chExt cx="0" cy="0"/>
        </a:xfrm>
      </p:grpSpPr>
      <p:sp>
        <p:nvSpPr>
          <p:cNvPr id="3" name="SectionNameTextPlaceholder"/>
          <p:cNvSpPr>
            <a:spLocks noGrp="1"/>
          </p:cNvSpPr>
          <p:nvPr>
            <p:ph type="body" idx="1" hasCustomPrompt="1"/>
          </p:nvPr>
        </p:nvSpPr>
        <p:spPr>
          <a:xfrm>
            <a:off x="6" y="6536608"/>
            <a:ext cx="4128655" cy="313241"/>
          </a:xfrm>
        </p:spPr>
        <p:txBody>
          <a:bodyPr anchor="b">
            <a:normAutofit/>
          </a:bodyPr>
          <a:lstStyle>
            <a:lvl1pPr marL="0" indent="0">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4" name="ContentPlaceholder"/>
          <p:cNvSpPr>
            <a:spLocks noGrp="1"/>
          </p:cNvSpPr>
          <p:nvPr>
            <p:ph sz="half" idx="2" hasCustomPrompt="1"/>
          </p:nvPr>
        </p:nvSpPr>
        <p:spPr>
          <a:xfrm>
            <a:off x="1530350" y="1235785"/>
            <a:ext cx="9137650" cy="4936416"/>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Placeholder"/>
          <p:cNvSpPr>
            <a:spLocks noGrp="1"/>
          </p:cNvSpPr>
          <p:nvPr>
            <p:ph type="ftr" sz="quarter" idx="11"/>
          </p:nvPr>
        </p:nvSpPr>
        <p:spPr>
          <a:xfrm>
            <a:off x="4128656" y="6536609"/>
            <a:ext cx="3990109" cy="313241"/>
          </a:xfrm>
        </p:spPr>
        <p:txBody>
          <a:bodyPr/>
          <a:lstStyle>
            <a:lvl1pPr algn="ctr">
              <a:defRPr>
                <a:solidFill>
                  <a:schemeClr val="accent1"/>
                </a:solidFill>
              </a:defRPr>
            </a:lvl1pPr>
          </a:lstStyle>
          <a:p>
            <a:endParaRPr lang="en-US" dirty="0"/>
          </a:p>
        </p:txBody>
      </p:sp>
      <p:sp>
        <p:nvSpPr>
          <p:cNvPr id="9" name="SlideNumberPlaceholde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10" name="TitlePlaceholder"/>
          <p:cNvSpPr>
            <a:spLocks noGrp="1"/>
          </p:cNvSpPr>
          <p:nvPr>
            <p:ph type="title" hasCustomPrompt="1"/>
          </p:nvPr>
        </p:nvSpPr>
        <p:spPr>
          <a:xfrm>
            <a:off x="0" y="0"/>
            <a:ext cx="12191998" cy="642796"/>
          </a:xfrm>
          <a:solidFill>
            <a:srgbClr val="8064A2"/>
          </a:solidFill>
        </p:spPr>
        <p:txBody>
          <a:bodyPr>
            <a:normAutofit/>
          </a:bodyPr>
          <a:lstStyle>
            <a:lvl1pPr>
              <a:defRPr sz="3200">
                <a:solidFill>
                  <a:schemeClr val="bg1"/>
                </a:solidFill>
              </a:defRPr>
            </a:lvl1pPr>
          </a:lstStyle>
          <a:p>
            <a:r>
              <a:rPr lang="en-US" dirty="0"/>
              <a:t>{Title Here}</a:t>
            </a:r>
          </a:p>
        </p:txBody>
      </p:sp>
      <p:sp>
        <p:nvSpPr>
          <p:cNvPr id="7" name="ReferenceTextPlaceholder"/>
          <p:cNvSpPr>
            <a:spLocks noGrp="1"/>
          </p:cNvSpPr>
          <p:nvPr>
            <p:ph type="body" sz="quarter" idx="3" hasCustomPrompt="1"/>
          </p:nvPr>
        </p:nvSpPr>
        <p:spPr>
          <a:xfrm>
            <a:off x="5176998" y="0"/>
            <a:ext cx="7015007"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
        <p:nvSpPr>
          <p:cNvPr id="2" name="GuideRectangle" hidden="1"/>
          <p:cNvSpPr/>
          <p:nvPr userDrawn="1"/>
        </p:nvSpPr>
        <p:spPr>
          <a:xfrm>
            <a:off x="609600" y="711203"/>
            <a:ext cx="10972800" cy="572617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ubTitleTextPlaceholder">
            <a:extLst>
              <a:ext uri="{FF2B5EF4-FFF2-40B4-BE49-F238E27FC236}">
                <a16:creationId xmlns:a16="http://schemas.microsoft.com/office/drawing/2014/main" id="{77754306-9C7B-481E-AA2C-3690CA5977F6}"/>
              </a:ext>
            </a:extLst>
          </p:cNvPr>
          <p:cNvSpPr>
            <a:spLocks noGrp="1"/>
          </p:cNvSpPr>
          <p:nvPr>
            <p:ph type="body" sz="quarter" idx="13" hasCustomPrompt="1"/>
          </p:nvPr>
        </p:nvSpPr>
        <p:spPr>
          <a:xfrm>
            <a:off x="0" y="653523"/>
            <a:ext cx="12191999" cy="558314"/>
          </a:xfrm>
          <a:solidFill>
            <a:srgbClr val="8064A2"/>
          </a:solidFill>
        </p:spPr>
        <p:txBody>
          <a:bodyPr>
            <a:normAutofit/>
          </a:bodyPr>
          <a:lstStyle>
            <a:lvl1pPr marL="0" indent="0" algn="ctr">
              <a:buNone/>
              <a:defRPr sz="3600" b="1">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Sub Title Here}</a:t>
            </a:r>
          </a:p>
        </p:txBody>
      </p:sp>
    </p:spTree>
    <p:extLst>
      <p:ext uri="{BB962C8B-B14F-4D97-AF65-F5344CB8AC3E}">
        <p14:creationId xmlns:p14="http://schemas.microsoft.com/office/powerpoint/2010/main" val="39189394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Areas">
    <p:spTree>
      <p:nvGrpSpPr>
        <p:cNvPr id="1" name=""/>
        <p:cNvGrpSpPr/>
        <p:nvPr/>
      </p:nvGrpSpPr>
      <p:grpSpPr>
        <a:xfrm>
          <a:off x="0" y="0"/>
          <a:ext cx="0" cy="0"/>
          <a:chOff x="0" y="0"/>
          <a:chExt cx="0" cy="0"/>
        </a:xfrm>
      </p:grpSpPr>
      <p:sp>
        <p:nvSpPr>
          <p:cNvPr id="9" name="SlideNumberPlaceholde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8" name="FooterPlaceholder"/>
          <p:cNvSpPr>
            <a:spLocks noGrp="1"/>
          </p:cNvSpPr>
          <p:nvPr>
            <p:ph type="ftr" sz="quarter" idx="11"/>
          </p:nvPr>
        </p:nvSpPr>
        <p:spPr>
          <a:xfrm>
            <a:off x="4128656" y="6536609"/>
            <a:ext cx="3990109" cy="313241"/>
          </a:xfrm>
        </p:spPr>
        <p:txBody>
          <a:bodyPr/>
          <a:lstStyle>
            <a:lvl1pPr algn="ctr">
              <a:defRPr>
                <a:solidFill>
                  <a:schemeClr val="accent1"/>
                </a:solidFill>
              </a:defRPr>
            </a:lvl1pPr>
          </a:lstStyle>
          <a:p>
            <a:endParaRPr lang="en-US" dirty="0"/>
          </a:p>
        </p:txBody>
      </p:sp>
      <p:sp>
        <p:nvSpPr>
          <p:cNvPr id="3" name="SectionNameTextPlaceholder"/>
          <p:cNvSpPr>
            <a:spLocks noGrp="1"/>
          </p:cNvSpPr>
          <p:nvPr>
            <p:ph type="body" idx="1" hasCustomPrompt="1"/>
          </p:nvPr>
        </p:nvSpPr>
        <p:spPr>
          <a:xfrm>
            <a:off x="6" y="6536608"/>
            <a:ext cx="4128655" cy="313241"/>
          </a:xfrm>
        </p:spPr>
        <p:txBody>
          <a:bodyPr anchor="b">
            <a:normAutofit/>
          </a:bodyPr>
          <a:lstStyle>
            <a:lvl1pPr marL="0" indent="0">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14" name="ReferenceTextPlaceholder2">
            <a:extLst>
              <a:ext uri="{FF2B5EF4-FFF2-40B4-BE49-F238E27FC236}">
                <a16:creationId xmlns:a16="http://schemas.microsoft.com/office/drawing/2014/main" id="{71F8A726-853A-4BAA-A7AE-44610E0FC414}"/>
              </a:ext>
            </a:extLst>
          </p:cNvPr>
          <p:cNvSpPr>
            <a:spLocks noGrp="1"/>
          </p:cNvSpPr>
          <p:nvPr>
            <p:ph type="body" sz="quarter" idx="18" hasCustomPrompt="1"/>
          </p:nvPr>
        </p:nvSpPr>
        <p:spPr>
          <a:xfrm>
            <a:off x="6167580" y="6200050"/>
            <a:ext cx="5955146" cy="289649"/>
          </a:xfrm>
        </p:spPr>
        <p:txBody>
          <a:bodyPr anchor="b">
            <a:normAutofit/>
          </a:bodyPr>
          <a:lstStyle>
            <a:lvl1pPr marL="0" indent="0" algn="r">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2 Text Here}</a:t>
            </a:r>
          </a:p>
        </p:txBody>
      </p:sp>
      <p:sp>
        <p:nvSpPr>
          <p:cNvPr id="11" name="ContentPlaceholder2"/>
          <p:cNvSpPr>
            <a:spLocks noGrp="1"/>
          </p:cNvSpPr>
          <p:nvPr>
            <p:ph sz="half" idx="13" hasCustomPrompt="1"/>
          </p:nvPr>
        </p:nvSpPr>
        <p:spPr>
          <a:xfrm>
            <a:off x="6172199" y="1146325"/>
            <a:ext cx="5945909" cy="5032226"/>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GuideRectangle2" hidden="1"/>
          <p:cNvSpPr/>
          <p:nvPr userDrawn="1"/>
        </p:nvSpPr>
        <p:spPr>
          <a:xfrm>
            <a:off x="6172200" y="1155243"/>
            <a:ext cx="5950526"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eaderTextPlaceholder2"/>
          <p:cNvSpPr>
            <a:spLocks noGrp="1"/>
          </p:cNvSpPr>
          <p:nvPr>
            <p:ph type="body" sz="quarter" idx="17" hasCustomPrompt="1"/>
          </p:nvPr>
        </p:nvSpPr>
        <p:spPr>
          <a:xfrm>
            <a:off x="6167580" y="561258"/>
            <a:ext cx="5945908"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l">
              <a:buNone/>
              <a:defRPr/>
            </a:lvl1pPr>
          </a:lstStyle>
          <a:p>
            <a:pPr lvl="0"/>
            <a:r>
              <a:rPr lang="en-US" dirty="0"/>
              <a:t>{Header 2 Here}</a:t>
            </a:r>
          </a:p>
        </p:txBody>
      </p:sp>
      <p:sp>
        <p:nvSpPr>
          <p:cNvPr id="7" name="ReferenceTextPlaceholder1"/>
          <p:cNvSpPr>
            <a:spLocks noGrp="1"/>
          </p:cNvSpPr>
          <p:nvPr>
            <p:ph type="body" sz="quarter" idx="3" hasCustomPrompt="1"/>
          </p:nvPr>
        </p:nvSpPr>
        <p:spPr>
          <a:xfrm>
            <a:off x="64654" y="6200051"/>
            <a:ext cx="5955146" cy="289649"/>
          </a:xfrm>
        </p:spPr>
        <p:txBody>
          <a:bodyPr anchor="b">
            <a:normAutofit/>
          </a:bodyPr>
          <a:lstStyle>
            <a:lvl1pPr marL="0" indent="0" algn="l">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1 Text Here}</a:t>
            </a:r>
          </a:p>
        </p:txBody>
      </p:sp>
      <p:sp>
        <p:nvSpPr>
          <p:cNvPr id="4" name="ContentPlaceholder1"/>
          <p:cNvSpPr>
            <a:spLocks noGrp="1"/>
          </p:cNvSpPr>
          <p:nvPr>
            <p:ph sz="half" idx="2" hasCustomPrompt="1"/>
          </p:nvPr>
        </p:nvSpPr>
        <p:spPr>
          <a:xfrm>
            <a:off x="64654" y="1146331"/>
            <a:ext cx="5955146" cy="5032220"/>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GuideRectangle1" hidden="1"/>
          <p:cNvSpPr/>
          <p:nvPr userDrawn="1"/>
        </p:nvSpPr>
        <p:spPr>
          <a:xfrm>
            <a:off x="60036" y="1155243"/>
            <a:ext cx="5959764"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aderTextPlaceholder1"/>
          <p:cNvSpPr>
            <a:spLocks noGrp="1"/>
          </p:cNvSpPr>
          <p:nvPr>
            <p:ph type="body" sz="quarter" idx="16" hasCustomPrompt="1"/>
          </p:nvPr>
        </p:nvSpPr>
        <p:spPr>
          <a:xfrm>
            <a:off x="64654" y="561258"/>
            <a:ext cx="5955146"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r">
              <a:buNone/>
              <a:defRPr/>
            </a:lvl1pPr>
          </a:lstStyle>
          <a:p>
            <a:pPr lvl="0"/>
            <a:r>
              <a:rPr lang="en-US" dirty="0"/>
              <a:t>{Header 1 Here}</a:t>
            </a:r>
          </a:p>
        </p:txBody>
      </p:sp>
      <p:sp>
        <p:nvSpPr>
          <p:cNvPr id="10" name="TitlePlaceholder"/>
          <p:cNvSpPr>
            <a:spLocks noGrp="1"/>
          </p:cNvSpPr>
          <p:nvPr>
            <p:ph type="title" hasCustomPrompt="1"/>
          </p:nvPr>
        </p:nvSpPr>
        <p:spPr>
          <a:xfrm>
            <a:off x="-1" y="0"/>
            <a:ext cx="12191995" cy="514350"/>
          </a:xfrm>
          <a:solidFill>
            <a:srgbClr val="8064A2"/>
          </a:solidFill>
        </p:spPr>
        <p:txBody>
          <a:bodyPr>
            <a:normAutofit/>
          </a:bodyPr>
          <a:lstStyle>
            <a:lvl1pPr algn="l">
              <a:defRPr sz="3200">
                <a:solidFill>
                  <a:schemeClr val="bg1"/>
                </a:solidFill>
              </a:defRPr>
            </a:lvl1pPr>
          </a:lstStyle>
          <a:p>
            <a:r>
              <a:rPr lang="en-US" dirty="0"/>
              <a:t>{Title Here}</a:t>
            </a:r>
          </a:p>
        </p:txBody>
      </p:sp>
      <p:sp>
        <p:nvSpPr>
          <p:cNvPr id="15" name="ReferenceTextPlaceholder">
            <a:extLst>
              <a:ext uri="{FF2B5EF4-FFF2-40B4-BE49-F238E27FC236}">
                <a16:creationId xmlns:a16="http://schemas.microsoft.com/office/drawing/2014/main" id="{C55D4BEC-08D7-4AAD-B0E1-C0FA171A4858}"/>
              </a:ext>
            </a:extLst>
          </p:cNvPr>
          <p:cNvSpPr>
            <a:spLocks noGrp="1"/>
          </p:cNvSpPr>
          <p:nvPr>
            <p:ph type="body" sz="quarter" idx="19" hasCustomPrompt="1"/>
          </p:nvPr>
        </p:nvSpPr>
        <p:spPr>
          <a:xfrm>
            <a:off x="5176998" y="0"/>
            <a:ext cx="7015007"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33411047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 Areas">
    <p:spTree>
      <p:nvGrpSpPr>
        <p:cNvPr id="1" name=""/>
        <p:cNvGrpSpPr/>
        <p:nvPr/>
      </p:nvGrpSpPr>
      <p:grpSpPr>
        <a:xfrm>
          <a:off x="0" y="0"/>
          <a:ext cx="0" cy="0"/>
          <a:chOff x="0" y="0"/>
          <a:chExt cx="0" cy="0"/>
        </a:xfrm>
      </p:grpSpPr>
      <p:sp>
        <p:nvSpPr>
          <p:cNvPr id="9" name="SlideNumberPlaceholde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8" name="FooterPlaceholder"/>
          <p:cNvSpPr>
            <a:spLocks noGrp="1"/>
          </p:cNvSpPr>
          <p:nvPr>
            <p:ph type="ftr" sz="quarter" idx="11"/>
          </p:nvPr>
        </p:nvSpPr>
        <p:spPr>
          <a:xfrm>
            <a:off x="4128656" y="6536609"/>
            <a:ext cx="3990109" cy="313241"/>
          </a:xfrm>
        </p:spPr>
        <p:txBody>
          <a:bodyPr/>
          <a:lstStyle>
            <a:lvl1pPr algn="ctr">
              <a:defRPr>
                <a:solidFill>
                  <a:schemeClr val="accent1"/>
                </a:solidFill>
              </a:defRPr>
            </a:lvl1pPr>
          </a:lstStyle>
          <a:p>
            <a:endParaRPr lang="en-US" dirty="0"/>
          </a:p>
        </p:txBody>
      </p:sp>
      <p:sp>
        <p:nvSpPr>
          <p:cNvPr id="3" name="SectionNameTextPlaceholder"/>
          <p:cNvSpPr>
            <a:spLocks noGrp="1"/>
          </p:cNvSpPr>
          <p:nvPr>
            <p:ph type="body" idx="1" hasCustomPrompt="1"/>
          </p:nvPr>
        </p:nvSpPr>
        <p:spPr>
          <a:xfrm>
            <a:off x="6" y="6536608"/>
            <a:ext cx="4128655" cy="313241"/>
          </a:xfrm>
        </p:spPr>
        <p:txBody>
          <a:bodyPr anchor="b">
            <a:normAutofit/>
          </a:bodyPr>
          <a:lstStyle>
            <a:lvl1pPr marL="0" indent="0">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14" name="ReferenceTextPlaceholder2">
            <a:extLst>
              <a:ext uri="{FF2B5EF4-FFF2-40B4-BE49-F238E27FC236}">
                <a16:creationId xmlns:a16="http://schemas.microsoft.com/office/drawing/2014/main" id="{71F8A726-853A-4BAA-A7AE-44610E0FC414}"/>
              </a:ext>
            </a:extLst>
          </p:cNvPr>
          <p:cNvSpPr>
            <a:spLocks noGrp="1"/>
          </p:cNvSpPr>
          <p:nvPr>
            <p:ph type="body" sz="quarter" idx="18" hasCustomPrompt="1"/>
          </p:nvPr>
        </p:nvSpPr>
        <p:spPr>
          <a:xfrm>
            <a:off x="4279128" y="6212171"/>
            <a:ext cx="3659508" cy="289649"/>
          </a:xfrm>
        </p:spPr>
        <p:txBody>
          <a:bodyPr anchor="b">
            <a:normAutofit/>
          </a:bodyPr>
          <a:lstStyle>
            <a:lvl1pPr marL="0" indent="0" algn="ctr">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2 Text Here}</a:t>
            </a:r>
          </a:p>
        </p:txBody>
      </p:sp>
      <p:sp>
        <p:nvSpPr>
          <p:cNvPr id="11" name="ContentPlaceholder2"/>
          <p:cNvSpPr>
            <a:spLocks noGrp="1"/>
          </p:cNvSpPr>
          <p:nvPr>
            <p:ph sz="half" idx="13" hasCustomPrompt="1"/>
          </p:nvPr>
        </p:nvSpPr>
        <p:spPr>
          <a:xfrm>
            <a:off x="4276726" y="1158452"/>
            <a:ext cx="3638548" cy="5021984"/>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GuideRectangle2"/>
          <p:cNvSpPr/>
          <p:nvPr userDrawn="1"/>
        </p:nvSpPr>
        <p:spPr>
          <a:xfrm>
            <a:off x="4277952" y="1157128"/>
            <a:ext cx="3643738"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eaderTextPlaceholder2"/>
          <p:cNvSpPr>
            <a:spLocks noGrp="1"/>
          </p:cNvSpPr>
          <p:nvPr>
            <p:ph type="body" sz="quarter" idx="17" hasCustomPrompt="1"/>
          </p:nvPr>
        </p:nvSpPr>
        <p:spPr>
          <a:xfrm>
            <a:off x="4241617" y="561258"/>
            <a:ext cx="3694617"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ctr">
              <a:buNone/>
              <a:defRPr/>
            </a:lvl1pPr>
          </a:lstStyle>
          <a:p>
            <a:pPr lvl="0"/>
            <a:r>
              <a:rPr lang="en-US" dirty="0"/>
              <a:t>{Header 2 Here}</a:t>
            </a:r>
          </a:p>
        </p:txBody>
      </p:sp>
      <p:sp>
        <p:nvSpPr>
          <p:cNvPr id="7" name="ReferenceTextPlaceholder1"/>
          <p:cNvSpPr>
            <a:spLocks noGrp="1"/>
          </p:cNvSpPr>
          <p:nvPr>
            <p:ph type="body" sz="quarter" idx="3" hasCustomPrompt="1"/>
          </p:nvPr>
        </p:nvSpPr>
        <p:spPr>
          <a:xfrm>
            <a:off x="238129" y="6212172"/>
            <a:ext cx="3657588" cy="289649"/>
          </a:xfrm>
        </p:spPr>
        <p:txBody>
          <a:bodyPr anchor="b">
            <a:normAutofit/>
          </a:bodyPr>
          <a:lstStyle>
            <a:lvl1pPr marL="0" indent="0" algn="l">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1 Text Here}</a:t>
            </a:r>
          </a:p>
        </p:txBody>
      </p:sp>
      <p:sp>
        <p:nvSpPr>
          <p:cNvPr id="4" name="ContentPlaceholder1"/>
          <p:cNvSpPr>
            <a:spLocks noGrp="1"/>
          </p:cNvSpPr>
          <p:nvPr>
            <p:ph sz="half" idx="2" hasCustomPrompt="1"/>
          </p:nvPr>
        </p:nvSpPr>
        <p:spPr>
          <a:xfrm>
            <a:off x="238129" y="1158452"/>
            <a:ext cx="3657581" cy="5032220"/>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GuideRectangle1"/>
          <p:cNvSpPr/>
          <p:nvPr userDrawn="1"/>
        </p:nvSpPr>
        <p:spPr>
          <a:xfrm>
            <a:off x="232931" y="1162908"/>
            <a:ext cx="3657581"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aderTextPlaceholder1"/>
          <p:cNvSpPr>
            <a:spLocks noGrp="1"/>
          </p:cNvSpPr>
          <p:nvPr>
            <p:ph type="body" sz="quarter" idx="16" hasCustomPrompt="1"/>
          </p:nvPr>
        </p:nvSpPr>
        <p:spPr>
          <a:xfrm>
            <a:off x="238128" y="549707"/>
            <a:ext cx="3657591"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ctr">
              <a:buNone/>
              <a:defRPr/>
            </a:lvl1pPr>
          </a:lstStyle>
          <a:p>
            <a:pPr lvl="0"/>
            <a:r>
              <a:rPr lang="en-US" dirty="0"/>
              <a:t>{Header 1 Here}</a:t>
            </a:r>
          </a:p>
        </p:txBody>
      </p:sp>
      <p:sp>
        <p:nvSpPr>
          <p:cNvPr id="10" name="TitlePlaceholder"/>
          <p:cNvSpPr>
            <a:spLocks noGrp="1"/>
          </p:cNvSpPr>
          <p:nvPr>
            <p:ph type="title" hasCustomPrompt="1"/>
          </p:nvPr>
        </p:nvSpPr>
        <p:spPr>
          <a:xfrm>
            <a:off x="-1" y="0"/>
            <a:ext cx="12191999" cy="514350"/>
          </a:xfrm>
          <a:solidFill>
            <a:srgbClr val="8064A2"/>
          </a:solidFill>
        </p:spPr>
        <p:txBody>
          <a:bodyPr>
            <a:normAutofit/>
          </a:bodyPr>
          <a:lstStyle>
            <a:lvl1pPr algn="l">
              <a:defRPr sz="3200">
                <a:solidFill>
                  <a:schemeClr val="bg1"/>
                </a:solidFill>
              </a:defRPr>
            </a:lvl1pPr>
          </a:lstStyle>
          <a:p>
            <a:r>
              <a:rPr lang="en-US" dirty="0"/>
              <a:t>{Title Here}</a:t>
            </a:r>
          </a:p>
        </p:txBody>
      </p:sp>
      <p:sp>
        <p:nvSpPr>
          <p:cNvPr id="15" name="ReferenceTextPlaceholder">
            <a:extLst>
              <a:ext uri="{FF2B5EF4-FFF2-40B4-BE49-F238E27FC236}">
                <a16:creationId xmlns:a16="http://schemas.microsoft.com/office/drawing/2014/main" id="{C55D4BEC-08D7-4AAD-B0E1-C0FA171A4858}"/>
              </a:ext>
            </a:extLst>
          </p:cNvPr>
          <p:cNvSpPr>
            <a:spLocks noGrp="1"/>
          </p:cNvSpPr>
          <p:nvPr>
            <p:ph type="body" sz="quarter" idx="19" hasCustomPrompt="1"/>
          </p:nvPr>
        </p:nvSpPr>
        <p:spPr>
          <a:xfrm>
            <a:off x="5176998" y="0"/>
            <a:ext cx="7015007"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
        <p:nvSpPr>
          <p:cNvPr id="19" name="ReferenceTextPlaceholder3">
            <a:extLst>
              <a:ext uri="{FF2B5EF4-FFF2-40B4-BE49-F238E27FC236}">
                <a16:creationId xmlns:a16="http://schemas.microsoft.com/office/drawing/2014/main" id="{661DBD40-D238-45F9-B3E2-D741B4857EE2}"/>
              </a:ext>
            </a:extLst>
          </p:cNvPr>
          <p:cNvSpPr>
            <a:spLocks noGrp="1"/>
          </p:cNvSpPr>
          <p:nvPr>
            <p:ph type="body" sz="quarter" idx="20" hasCustomPrompt="1"/>
          </p:nvPr>
        </p:nvSpPr>
        <p:spPr>
          <a:xfrm>
            <a:off x="8241811" y="6200620"/>
            <a:ext cx="3659508" cy="289649"/>
          </a:xfrm>
        </p:spPr>
        <p:txBody>
          <a:bodyPr anchor="b">
            <a:normAutofit/>
          </a:bodyPr>
          <a:lstStyle>
            <a:lvl1pPr marL="0" indent="0" algn="r">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3 Text Here}</a:t>
            </a:r>
          </a:p>
        </p:txBody>
      </p:sp>
      <p:sp>
        <p:nvSpPr>
          <p:cNvPr id="20" name="ContentPlaceholder3">
            <a:extLst>
              <a:ext uri="{FF2B5EF4-FFF2-40B4-BE49-F238E27FC236}">
                <a16:creationId xmlns:a16="http://schemas.microsoft.com/office/drawing/2014/main" id="{728907F7-CA8F-4692-B81F-07545D671016}"/>
              </a:ext>
            </a:extLst>
          </p:cNvPr>
          <p:cNvSpPr>
            <a:spLocks noGrp="1"/>
          </p:cNvSpPr>
          <p:nvPr>
            <p:ph sz="half" idx="21" hasCustomPrompt="1"/>
          </p:nvPr>
        </p:nvSpPr>
        <p:spPr>
          <a:xfrm>
            <a:off x="8239409" y="1146901"/>
            <a:ext cx="3638548" cy="5021984"/>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GuideRectangle3">
            <a:extLst>
              <a:ext uri="{FF2B5EF4-FFF2-40B4-BE49-F238E27FC236}">
                <a16:creationId xmlns:a16="http://schemas.microsoft.com/office/drawing/2014/main" id="{B23207B1-B0B1-49E5-8564-4A58357800EC}"/>
              </a:ext>
            </a:extLst>
          </p:cNvPr>
          <p:cNvSpPr/>
          <p:nvPr userDrawn="1"/>
        </p:nvSpPr>
        <p:spPr>
          <a:xfrm>
            <a:off x="8240635" y="1145577"/>
            <a:ext cx="3643738"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HeaderTextPlaceholder3">
            <a:extLst>
              <a:ext uri="{FF2B5EF4-FFF2-40B4-BE49-F238E27FC236}">
                <a16:creationId xmlns:a16="http://schemas.microsoft.com/office/drawing/2014/main" id="{7E9252F0-C41B-4395-B807-B4E4ADABC15C}"/>
              </a:ext>
            </a:extLst>
          </p:cNvPr>
          <p:cNvSpPr>
            <a:spLocks noGrp="1"/>
          </p:cNvSpPr>
          <p:nvPr>
            <p:ph type="body" sz="quarter" idx="22" hasCustomPrompt="1"/>
          </p:nvPr>
        </p:nvSpPr>
        <p:spPr>
          <a:xfrm>
            <a:off x="8204300" y="549707"/>
            <a:ext cx="3694617"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ctr">
              <a:buNone/>
              <a:defRPr/>
            </a:lvl1pPr>
          </a:lstStyle>
          <a:p>
            <a:pPr lvl="0"/>
            <a:r>
              <a:rPr lang="en-US" dirty="0"/>
              <a:t>{Header 3 Here}</a:t>
            </a:r>
          </a:p>
        </p:txBody>
      </p:sp>
    </p:spTree>
    <p:extLst>
      <p:ext uri="{BB962C8B-B14F-4D97-AF65-F5344CB8AC3E}">
        <p14:creationId xmlns:p14="http://schemas.microsoft.com/office/powerpoint/2010/main" val="3101984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 Primary">
    <p:spTree>
      <p:nvGrpSpPr>
        <p:cNvPr id="1" name=""/>
        <p:cNvGrpSpPr/>
        <p:nvPr/>
      </p:nvGrpSpPr>
      <p:grpSpPr>
        <a:xfrm>
          <a:off x="0" y="0"/>
          <a:ext cx="0" cy="0"/>
          <a:chOff x="0" y="0"/>
          <a:chExt cx="0" cy="0"/>
        </a:xfrm>
      </p:grpSpPr>
      <p:sp>
        <p:nvSpPr>
          <p:cNvPr id="3" name="SectionNameTextPlaceholder"/>
          <p:cNvSpPr>
            <a:spLocks noGrp="1"/>
          </p:cNvSpPr>
          <p:nvPr>
            <p:ph type="body" idx="1" hasCustomPrompt="1"/>
          </p:nvPr>
        </p:nvSpPr>
        <p:spPr>
          <a:xfrm>
            <a:off x="8650013" y="6098312"/>
            <a:ext cx="3468095" cy="339067"/>
          </a:xfrm>
        </p:spPr>
        <p:txBody>
          <a:bodyPr anchor="b">
            <a:normAutofit/>
          </a:bodyPr>
          <a:lstStyle>
            <a:lvl1pPr marL="0" indent="0" algn="r">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8" name="FooterPlaceholde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9" name="SlideNumberPlaceholde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10" name="TitlePlaceholder"/>
          <p:cNvSpPr>
            <a:spLocks noGrp="1"/>
          </p:cNvSpPr>
          <p:nvPr>
            <p:ph type="title" hasCustomPrompt="1"/>
          </p:nvPr>
        </p:nvSpPr>
        <p:spPr>
          <a:xfrm>
            <a:off x="8650013" y="8157"/>
            <a:ext cx="3541987" cy="603820"/>
          </a:xfrm>
          <a:solidFill>
            <a:srgbClr val="8064A2"/>
          </a:solidFill>
        </p:spPr>
        <p:txBody>
          <a:bodyPr>
            <a:normAutofit/>
          </a:bodyPr>
          <a:lstStyle>
            <a:lvl1pPr algn="r">
              <a:defRPr sz="3200">
                <a:solidFill>
                  <a:schemeClr val="bg1"/>
                </a:solidFill>
              </a:defRPr>
            </a:lvl1pPr>
          </a:lstStyle>
          <a:p>
            <a:r>
              <a:rPr lang="en-US" dirty="0"/>
              <a:t>{Title Here}</a:t>
            </a:r>
          </a:p>
        </p:txBody>
      </p:sp>
      <p:sp>
        <p:nvSpPr>
          <p:cNvPr id="7" name="ReferenceTextPlaceholder"/>
          <p:cNvSpPr>
            <a:spLocks noGrp="1"/>
          </p:cNvSpPr>
          <p:nvPr>
            <p:ph type="body" sz="quarter" idx="3" hasCustomPrompt="1"/>
          </p:nvPr>
        </p:nvSpPr>
        <p:spPr>
          <a:xfrm>
            <a:off x="121147" y="6504821"/>
            <a:ext cx="8366030" cy="346938"/>
          </a:xfrm>
        </p:spPr>
        <p:txBody>
          <a:bodyPr anchor="b">
            <a:normAutofit/>
          </a:bodyPr>
          <a:lstStyle>
            <a:lvl1pPr marL="0" indent="0" algn="l">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
        <p:nvSpPr>
          <p:cNvPr id="11" name="SecondaryPlaceholder"/>
          <p:cNvSpPr>
            <a:spLocks noGrp="1"/>
          </p:cNvSpPr>
          <p:nvPr>
            <p:ph sz="half" idx="13" hasCustomPrompt="1"/>
          </p:nvPr>
        </p:nvSpPr>
        <p:spPr>
          <a:xfrm>
            <a:off x="8650013" y="711200"/>
            <a:ext cx="3468096" cy="5287889"/>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rimaryPlaceholder"/>
          <p:cNvSpPr>
            <a:spLocks noGrp="1"/>
          </p:cNvSpPr>
          <p:nvPr>
            <p:ph sz="half" idx="2" hasCustomPrompt="1"/>
          </p:nvPr>
        </p:nvSpPr>
        <p:spPr>
          <a:xfrm>
            <a:off x="121147" y="95534"/>
            <a:ext cx="8366030" cy="6341845"/>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67907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ight Primary">
    <p:spTree>
      <p:nvGrpSpPr>
        <p:cNvPr id="1" name=""/>
        <p:cNvGrpSpPr/>
        <p:nvPr/>
      </p:nvGrpSpPr>
      <p:grpSpPr>
        <a:xfrm>
          <a:off x="0" y="0"/>
          <a:ext cx="0" cy="0"/>
          <a:chOff x="0" y="0"/>
          <a:chExt cx="0" cy="0"/>
        </a:xfrm>
      </p:grpSpPr>
      <p:sp>
        <p:nvSpPr>
          <p:cNvPr id="3" name="SectionNameTextPlaceholder"/>
          <p:cNvSpPr>
            <a:spLocks noGrp="1"/>
          </p:cNvSpPr>
          <p:nvPr>
            <p:ph type="body" idx="1" hasCustomPrompt="1"/>
          </p:nvPr>
        </p:nvSpPr>
        <p:spPr>
          <a:xfrm>
            <a:off x="121147" y="6106469"/>
            <a:ext cx="3468095" cy="339067"/>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8" name="FooterPlaceholder"/>
          <p:cNvSpPr>
            <a:spLocks noGrp="1"/>
          </p:cNvSpPr>
          <p:nvPr>
            <p:ph type="ftr" sz="quarter" idx="11"/>
          </p:nvPr>
        </p:nvSpPr>
        <p:spPr>
          <a:xfrm>
            <a:off x="656855" y="6544759"/>
            <a:ext cx="2932387" cy="313241"/>
          </a:xfrm>
        </p:spPr>
        <p:txBody>
          <a:bodyPr/>
          <a:lstStyle>
            <a:lvl1pPr algn="ctr">
              <a:defRPr>
                <a:solidFill>
                  <a:schemeClr val="accent1"/>
                </a:solidFill>
              </a:defRPr>
            </a:lvl1pPr>
          </a:lstStyle>
          <a:p>
            <a:endParaRPr lang="en-US" dirty="0"/>
          </a:p>
        </p:txBody>
      </p:sp>
      <p:sp>
        <p:nvSpPr>
          <p:cNvPr id="9" name="SlideNumberPlaceholder"/>
          <p:cNvSpPr>
            <a:spLocks noGrp="1"/>
          </p:cNvSpPr>
          <p:nvPr>
            <p:ph type="sldNum" sz="quarter" idx="12"/>
          </p:nvPr>
        </p:nvSpPr>
        <p:spPr>
          <a:xfrm>
            <a:off x="121147" y="6544758"/>
            <a:ext cx="535709" cy="313242"/>
          </a:xfrm>
        </p:spPr>
        <p:txBody>
          <a:bodyPr/>
          <a:lstStyle>
            <a:lvl1pPr algn="l">
              <a:defRPr>
                <a:solidFill>
                  <a:schemeClr val="accent1"/>
                </a:solidFill>
              </a:defRPr>
            </a:lvl1pPr>
          </a:lstStyle>
          <a:p>
            <a:fld id="{E492D9C9-D102-485F-849A-B515010D78AF}" type="slidenum">
              <a:rPr lang="en-US" smtClean="0"/>
              <a:pPr/>
              <a:t>‹#›</a:t>
            </a:fld>
            <a:endParaRPr lang="en-US" dirty="0"/>
          </a:p>
        </p:txBody>
      </p:sp>
      <p:sp>
        <p:nvSpPr>
          <p:cNvPr id="10" name="TitlePlaceholder"/>
          <p:cNvSpPr>
            <a:spLocks noGrp="1"/>
          </p:cNvSpPr>
          <p:nvPr>
            <p:ph type="title" hasCustomPrompt="1"/>
          </p:nvPr>
        </p:nvSpPr>
        <p:spPr>
          <a:xfrm>
            <a:off x="1" y="1"/>
            <a:ext cx="3589242" cy="603250"/>
          </a:xfrm>
          <a:solidFill>
            <a:srgbClr val="8064A2"/>
          </a:solidFill>
        </p:spPr>
        <p:txBody>
          <a:bodyPr>
            <a:normAutofit/>
          </a:bodyPr>
          <a:lstStyle>
            <a:lvl1pPr algn="l">
              <a:defRPr sz="3200">
                <a:solidFill>
                  <a:schemeClr val="bg1"/>
                </a:solidFill>
              </a:defRPr>
            </a:lvl1pPr>
          </a:lstStyle>
          <a:p>
            <a:r>
              <a:rPr lang="en-US" dirty="0"/>
              <a:t>{Title Here}</a:t>
            </a:r>
          </a:p>
        </p:txBody>
      </p:sp>
      <p:sp>
        <p:nvSpPr>
          <p:cNvPr id="7" name="ReferenceTextPlaceholder"/>
          <p:cNvSpPr>
            <a:spLocks noGrp="1"/>
          </p:cNvSpPr>
          <p:nvPr>
            <p:ph type="body" sz="quarter" idx="3" hasCustomPrompt="1"/>
          </p:nvPr>
        </p:nvSpPr>
        <p:spPr>
          <a:xfrm>
            <a:off x="3712120" y="6511062"/>
            <a:ext cx="8366030" cy="346938"/>
          </a:xfrm>
        </p:spPr>
        <p:txBody>
          <a:bodyPr anchor="b">
            <a:normAutofit/>
          </a:bodyPr>
          <a:lstStyle>
            <a:lvl1pPr marL="0" marR="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Reference Text Here}</a:t>
            </a:r>
          </a:p>
        </p:txBody>
      </p:sp>
      <p:sp>
        <p:nvSpPr>
          <p:cNvPr id="11" name="SecondaryPlaceholder"/>
          <p:cNvSpPr>
            <a:spLocks noGrp="1"/>
          </p:cNvSpPr>
          <p:nvPr>
            <p:ph sz="half" idx="13" hasCustomPrompt="1"/>
          </p:nvPr>
        </p:nvSpPr>
        <p:spPr>
          <a:xfrm>
            <a:off x="121147" y="702472"/>
            <a:ext cx="3468096" cy="5304773"/>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rimaryPlaceholder"/>
          <p:cNvSpPr>
            <a:spLocks noGrp="1"/>
          </p:cNvSpPr>
          <p:nvPr>
            <p:ph sz="half" idx="2" hasCustomPrompt="1"/>
          </p:nvPr>
        </p:nvSpPr>
        <p:spPr>
          <a:xfrm>
            <a:off x="3712120" y="103691"/>
            <a:ext cx="8366030" cy="6341845"/>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65210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583CA2-1502-460E-9AFD-DDD1FC3FD74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2ACBCB13-5997-494A-BB0C-6931F81B6B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1C86E1C-AEB5-43B9-BA72-D734D8C65A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accent1"/>
                </a:solidFill>
              </a:defRPr>
            </a:lvl1pPr>
          </a:lstStyle>
          <a:p>
            <a:fld id="{82C8E351-37C8-4FC8-93F4-467735F489A6}" type="datetimeFigureOut">
              <a:rPr lang="en-US" smtClean="0"/>
              <a:pPr/>
              <a:t>6/11/2024</a:t>
            </a:fld>
            <a:endParaRPr lang="en-US" dirty="0"/>
          </a:p>
        </p:txBody>
      </p:sp>
      <p:sp>
        <p:nvSpPr>
          <p:cNvPr id="5" name="Footer Placeholder 4">
            <a:extLst>
              <a:ext uri="{FF2B5EF4-FFF2-40B4-BE49-F238E27FC236}">
                <a16:creationId xmlns:a16="http://schemas.microsoft.com/office/drawing/2014/main" id="{F48B7D2F-A2BE-477C-9B35-E6E48001A42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accent1"/>
                </a:solidFill>
              </a:defRPr>
            </a:lvl1pPr>
          </a:lstStyle>
          <a:p>
            <a:endParaRPr lang="en-US" dirty="0"/>
          </a:p>
        </p:txBody>
      </p:sp>
      <p:sp>
        <p:nvSpPr>
          <p:cNvPr id="6" name="Slide Number Placeholder 5">
            <a:extLst>
              <a:ext uri="{FF2B5EF4-FFF2-40B4-BE49-F238E27FC236}">
                <a16:creationId xmlns:a16="http://schemas.microsoft.com/office/drawing/2014/main" id="{C5BA2D7C-A847-4008-884A-601C0460C0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1"/>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202479639"/>
      </p:ext>
    </p:extLst>
  </p:cSld>
  <p:clrMap bg1="lt1" tx1="dk1" bg2="lt2" tx2="dk2" accent1="accent1" accent2="accent2" accent3="accent3" accent4="accent4" accent5="accent5" accent6="accent6" hlink="hlink" folHlink="folHlink"/>
  <p:sldLayoutIdLst>
    <p:sldLayoutId id="2147483693" r:id="rId1"/>
    <p:sldLayoutId id="2147483670" r:id="rId2"/>
    <p:sldLayoutId id="2147483674" r:id="rId3"/>
    <p:sldLayoutId id="2147483672" r:id="rId4"/>
    <p:sldLayoutId id="2147483673" r:id="rId5"/>
    <p:sldLayoutId id="2147483692" r:id="rId6"/>
    <p:sldLayoutId id="2147483675" r:id="rId7"/>
    <p:sldLayoutId id="2147483676" r:id="rId8"/>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svg"/><Relationship Id="rId13" Type="http://schemas.openxmlformats.org/officeDocument/2006/relationships/hyperlink" Target="https://bit.ly/MultimodalSlidesYouTube" TargetMode="External"/><Relationship Id="rId3" Type="http://schemas.openxmlformats.org/officeDocument/2006/relationships/audio" Target="../media/media1.m4a"/><Relationship Id="rId7" Type="http://schemas.openxmlformats.org/officeDocument/2006/relationships/image" Target="../media/image3.png"/><Relationship Id="rId12" Type="http://schemas.openxmlformats.org/officeDocument/2006/relationships/image" Target="../media/image8.svg"/><Relationship Id="rId2" Type="http://schemas.microsoft.com/office/2007/relationships/media" Target="../media/media1.m4a"/><Relationship Id="rId1" Type="http://schemas.openxmlformats.org/officeDocument/2006/relationships/tags" Target="../tags/tag2.x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notesSlide" Target="../notesSlides/notesSlide1.xml"/><Relationship Id="rId15" Type="http://schemas.openxmlformats.org/officeDocument/2006/relationships/image" Target="../media/image10.png"/><Relationship Id="rId10" Type="http://schemas.openxmlformats.org/officeDocument/2006/relationships/image" Target="../media/image6.svg"/><Relationship Id="rId4" Type="http://schemas.openxmlformats.org/officeDocument/2006/relationships/slideLayout" Target="../slideLayouts/slideLayout1.xml"/><Relationship Id="rId9" Type="http://schemas.openxmlformats.org/officeDocument/2006/relationships/image" Target="../media/image5.png"/><Relationship Id="rId14"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hyperlink" Target="https://www.decklinks.com/" TargetMode="External"/><Relationship Id="rId13" Type="http://schemas.openxmlformats.org/officeDocument/2006/relationships/hyperlink" Target="https://prezi.com/" TargetMode="External"/><Relationship Id="rId3" Type="http://schemas.openxmlformats.org/officeDocument/2006/relationships/audio" Target="../media/media10.m4a"/><Relationship Id="rId7" Type="http://schemas.openxmlformats.org/officeDocument/2006/relationships/hyperlink" Target="https://speakerdeck.com/" TargetMode="External"/><Relationship Id="rId12" Type="http://schemas.openxmlformats.org/officeDocument/2006/relationships/hyperlink" Target="https://www.canva.com/" TargetMode="External"/><Relationship Id="rId2" Type="http://schemas.microsoft.com/office/2007/relationships/media" Target="../media/media10.m4a"/><Relationship Id="rId1" Type="http://schemas.openxmlformats.org/officeDocument/2006/relationships/tags" Target="../tags/tag11.xml"/><Relationship Id="rId6" Type="http://schemas.openxmlformats.org/officeDocument/2006/relationships/hyperlink" Target="https://www.slideshare.net/" TargetMode="External"/><Relationship Id="rId11" Type="http://schemas.openxmlformats.org/officeDocument/2006/relationships/hyperlink" Target="https://www.adobe.com/products/captivate.html" TargetMode="External"/><Relationship Id="rId5" Type="http://schemas.openxmlformats.org/officeDocument/2006/relationships/notesSlide" Target="../notesSlides/notesSlide10.xml"/><Relationship Id="rId15" Type="http://schemas.openxmlformats.org/officeDocument/2006/relationships/image" Target="../media/image10.png"/><Relationship Id="rId10" Type="http://schemas.openxmlformats.org/officeDocument/2006/relationships/hyperlink" Target="https://www.articulate.com/360/storyline" TargetMode="External"/><Relationship Id="rId4" Type="http://schemas.openxmlformats.org/officeDocument/2006/relationships/slideLayout" Target="../slideLayouts/slideLayout3.xml"/><Relationship Id="rId9" Type="http://schemas.openxmlformats.org/officeDocument/2006/relationships/hyperlink" Target="https://www.ispringsolutions.com/" TargetMode="External"/><Relationship Id="rId14" Type="http://schemas.openxmlformats.org/officeDocument/2006/relationships/hyperlink" Target="https://pitch.com/"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audio" Target="../media/media11.m4a"/><Relationship Id="rId7" Type="http://schemas.openxmlformats.org/officeDocument/2006/relationships/image" Target="../media/image17.png"/><Relationship Id="rId2" Type="http://schemas.microsoft.com/office/2007/relationships/media" Target="../media/media11.m4a"/><Relationship Id="rId1" Type="http://schemas.openxmlformats.org/officeDocument/2006/relationships/tags" Target="../tags/tag12.xml"/><Relationship Id="rId6" Type="http://schemas.openxmlformats.org/officeDocument/2006/relationships/hyperlink" Target="https://pages.github.com/" TargetMode="External"/><Relationship Id="rId5" Type="http://schemas.openxmlformats.org/officeDocument/2006/relationships/notesSlide" Target="../notesSlides/notesSlide11.xml"/><Relationship Id="rId10" Type="http://schemas.openxmlformats.org/officeDocument/2006/relationships/image" Target="../media/image10.png"/><Relationship Id="rId4" Type="http://schemas.openxmlformats.org/officeDocument/2006/relationships/slideLayout" Target="../slideLayouts/slideLayout3.xml"/><Relationship Id="rId9"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audio" Target="../media/media12.m4a"/><Relationship Id="rId7" Type="http://schemas.openxmlformats.org/officeDocument/2006/relationships/image" Target="../media/image10.png"/><Relationship Id="rId2" Type="http://schemas.microsoft.com/office/2007/relationships/media" Target="../media/media12.m4a"/><Relationship Id="rId1" Type="http://schemas.openxmlformats.org/officeDocument/2006/relationships/tags" Target="../tags/tag13.xml"/><Relationship Id="rId6" Type="http://schemas.openxmlformats.org/officeDocument/2006/relationships/image" Target="../media/image1.png"/><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audio" Target="../media/media13.m4a"/><Relationship Id="rId7" Type="http://schemas.openxmlformats.org/officeDocument/2006/relationships/image" Target="../media/image18.png"/><Relationship Id="rId2" Type="http://schemas.microsoft.com/office/2007/relationships/media" Target="../media/media13.m4a"/><Relationship Id="rId1" Type="http://schemas.openxmlformats.org/officeDocument/2006/relationships/tags" Target="../tags/tag14.xml"/><Relationship Id="rId6" Type="http://schemas.openxmlformats.org/officeDocument/2006/relationships/image" Target="../media/image1.png"/><Relationship Id="rId5" Type="http://schemas.openxmlformats.org/officeDocument/2006/relationships/notesSlide" Target="../notesSlides/notesSlide13.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hyperlink" Target="https://bit.ly/MultimodalSlidesPPT" TargetMode="External"/><Relationship Id="rId13" Type="http://schemas.openxmlformats.org/officeDocument/2006/relationships/image" Target="../media/image20.png"/><Relationship Id="rId3" Type="http://schemas.openxmlformats.org/officeDocument/2006/relationships/audio" Target="../media/media14.m4a"/><Relationship Id="rId7" Type="http://schemas.openxmlformats.org/officeDocument/2006/relationships/hyperlink" Target="https://bit.ly/MultimodalSlidesYouTube" TargetMode="External"/><Relationship Id="rId12" Type="http://schemas.openxmlformats.org/officeDocument/2006/relationships/image" Target="../media/image19.png"/><Relationship Id="rId2" Type="http://schemas.microsoft.com/office/2007/relationships/media" Target="../media/media14.m4a"/><Relationship Id="rId16" Type="http://schemas.openxmlformats.org/officeDocument/2006/relationships/image" Target="../media/image10.png"/><Relationship Id="rId1" Type="http://schemas.openxmlformats.org/officeDocument/2006/relationships/tags" Target="../tags/tag15.xml"/><Relationship Id="rId6" Type="http://schemas.openxmlformats.org/officeDocument/2006/relationships/hyperlink" Target="https://bit.ly/MultimodalSlidesPDF" TargetMode="External"/><Relationship Id="rId11" Type="http://schemas.openxmlformats.org/officeDocument/2006/relationships/image" Target="../media/image9.png"/><Relationship Id="rId5" Type="http://schemas.openxmlformats.org/officeDocument/2006/relationships/notesSlide" Target="../notesSlides/notesSlide14.xml"/><Relationship Id="rId15" Type="http://schemas.openxmlformats.org/officeDocument/2006/relationships/hyperlink" Target="mailto:John@MultimodalSlides.com?subject=I%20am%20interested%20in%20Multimodal%20Slides" TargetMode="External"/><Relationship Id="rId10" Type="http://schemas.openxmlformats.org/officeDocument/2006/relationships/image" Target="../media/image1.png"/><Relationship Id="rId4" Type="http://schemas.openxmlformats.org/officeDocument/2006/relationships/slideLayout" Target="../slideLayouts/slideLayout3.xml"/><Relationship Id="rId9" Type="http://schemas.openxmlformats.org/officeDocument/2006/relationships/hyperlink" Target="https://bit.ly/MultimodalSlidesWebSiteSource" TargetMode="External"/><Relationship Id="rId14" Type="http://schemas.openxmlformats.org/officeDocument/2006/relationships/image" Target="../media/image2.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audio" Target="../media/media2.m4a"/><Relationship Id="rId7" Type="http://schemas.openxmlformats.org/officeDocument/2006/relationships/image" Target="../media/image4.svg"/><Relationship Id="rId12" Type="http://schemas.openxmlformats.org/officeDocument/2006/relationships/image" Target="../media/image10.png"/><Relationship Id="rId2" Type="http://schemas.microsoft.com/office/2007/relationships/media" Target="../media/media2.m4a"/><Relationship Id="rId1" Type="http://schemas.openxmlformats.org/officeDocument/2006/relationships/tags" Target="../tags/tag3.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3.xml"/><Relationship Id="rId9" Type="http://schemas.openxmlformats.org/officeDocument/2006/relationships/image" Target="../media/image6.svg"/></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audio" Target="../media/media3.m4a"/><Relationship Id="rId7" Type="http://schemas.openxmlformats.org/officeDocument/2006/relationships/image" Target="../media/image4.svg"/><Relationship Id="rId12" Type="http://schemas.openxmlformats.org/officeDocument/2006/relationships/image" Target="../media/image10.png"/><Relationship Id="rId2" Type="http://schemas.microsoft.com/office/2007/relationships/media" Target="../media/media3.m4a"/><Relationship Id="rId1" Type="http://schemas.openxmlformats.org/officeDocument/2006/relationships/tags" Target="../tags/tag4.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notesSlide" Target="../notesSlides/notesSlide3.xml"/><Relationship Id="rId10" Type="http://schemas.openxmlformats.org/officeDocument/2006/relationships/image" Target="../media/image7.png"/><Relationship Id="rId4" Type="http://schemas.openxmlformats.org/officeDocument/2006/relationships/slideLayout" Target="../slideLayouts/slideLayout3.xml"/><Relationship Id="rId9" Type="http://schemas.openxmlformats.org/officeDocument/2006/relationships/image" Target="../media/image6.svg"/></Relationships>
</file>

<file path=ppt/slides/_rels/slide4.xml.rels><?xml version="1.0" encoding="UTF-8" standalone="yes"?>
<Relationships xmlns="http://schemas.openxmlformats.org/package/2006/relationships"><Relationship Id="rId3" Type="http://schemas.openxmlformats.org/officeDocument/2006/relationships/audio" Target="../media/media4.m4a"/><Relationship Id="rId7" Type="http://schemas.openxmlformats.org/officeDocument/2006/relationships/image" Target="../media/image10.png"/><Relationship Id="rId2" Type="http://schemas.microsoft.com/office/2007/relationships/media" Target="../media/media4.m4a"/><Relationship Id="rId1" Type="http://schemas.openxmlformats.org/officeDocument/2006/relationships/tags" Target="../tags/tag5.xml"/><Relationship Id="rId6" Type="http://schemas.openxmlformats.org/officeDocument/2006/relationships/image" Target="../media/image1.png"/><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audio" Target="../media/media5.m4a"/><Relationship Id="rId7" Type="http://schemas.openxmlformats.org/officeDocument/2006/relationships/image" Target="../media/image2.png"/><Relationship Id="rId12" Type="http://schemas.openxmlformats.org/officeDocument/2006/relationships/image" Target="../media/image10.png"/><Relationship Id="rId2" Type="http://schemas.microsoft.com/office/2007/relationships/media" Target="../media/media5.m4a"/><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notesSlide" Target="../notesSlides/notesSlide5.xml"/><Relationship Id="rId10" Type="http://schemas.openxmlformats.org/officeDocument/2006/relationships/image" Target="../media/image13.jpeg"/><Relationship Id="rId4" Type="http://schemas.openxmlformats.org/officeDocument/2006/relationships/slideLayout" Target="../slideLayouts/slideLayout3.xml"/><Relationship Id="rId9"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audio" Target="../media/media6.m4a"/><Relationship Id="rId7" Type="http://schemas.openxmlformats.org/officeDocument/2006/relationships/image" Target="../media/image14.png"/><Relationship Id="rId2" Type="http://schemas.microsoft.com/office/2007/relationships/media" Target="../media/media6.m4a"/><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notesSlide" Target="../notesSlides/notesSlide6.xml"/><Relationship Id="rId4" Type="http://schemas.openxmlformats.org/officeDocument/2006/relationships/slideLayout" Target="../slideLayouts/slideLayout3.xml"/><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audio" Target="../media/media7.m4a"/><Relationship Id="rId7" Type="http://schemas.openxmlformats.org/officeDocument/2006/relationships/image" Target="../media/image15.jpg"/><Relationship Id="rId12" Type="http://schemas.openxmlformats.org/officeDocument/2006/relationships/image" Target="../media/image10.png"/><Relationship Id="rId2" Type="http://schemas.microsoft.com/office/2007/relationships/media" Target="../media/media7.m4a"/><Relationship Id="rId1" Type="http://schemas.openxmlformats.org/officeDocument/2006/relationships/tags" Target="../tags/tag8.xml"/><Relationship Id="rId6" Type="http://schemas.openxmlformats.org/officeDocument/2006/relationships/image" Target="../media/image9.png"/><Relationship Id="rId11" Type="http://schemas.openxmlformats.org/officeDocument/2006/relationships/image" Target="../media/image13.jpeg"/><Relationship Id="rId5" Type="http://schemas.openxmlformats.org/officeDocument/2006/relationships/notesSlide" Target="../notesSlides/notesSlide7.xml"/><Relationship Id="rId10" Type="http://schemas.openxmlformats.org/officeDocument/2006/relationships/image" Target="../media/image14.png"/><Relationship Id="rId4" Type="http://schemas.openxmlformats.org/officeDocument/2006/relationships/slideLayout" Target="../slideLayouts/slideLayout3.xml"/><Relationship Id="rId9" Type="http://schemas.openxmlformats.org/officeDocument/2006/relationships/image" Target="../media/image2.png"/></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audio" Target="../media/media8.m4a"/><Relationship Id="rId7" Type="http://schemas.openxmlformats.org/officeDocument/2006/relationships/hyperlink" Target="https://revealjs.com/" TargetMode="External"/><Relationship Id="rId12" Type="http://schemas.openxmlformats.org/officeDocument/2006/relationships/image" Target="../media/image10.png"/><Relationship Id="rId2" Type="http://schemas.microsoft.com/office/2007/relationships/media" Target="../media/media8.m4a"/><Relationship Id="rId1" Type="http://schemas.openxmlformats.org/officeDocument/2006/relationships/tags" Target="../tags/tag9.xml"/><Relationship Id="rId6" Type="http://schemas.openxmlformats.org/officeDocument/2006/relationships/image" Target="../media/image1.png"/><Relationship Id="rId11" Type="http://schemas.openxmlformats.org/officeDocument/2006/relationships/image" Target="../media/image2.png"/><Relationship Id="rId5" Type="http://schemas.openxmlformats.org/officeDocument/2006/relationships/notesSlide" Target="../notesSlides/notesSlide8.xml"/><Relationship Id="rId10" Type="http://schemas.openxmlformats.org/officeDocument/2006/relationships/image" Target="../media/image17.png"/><Relationship Id="rId4" Type="http://schemas.openxmlformats.org/officeDocument/2006/relationships/slideLayout" Target="../slideLayouts/slideLayout3.xml"/><Relationship Id="rId9" Type="http://schemas.openxmlformats.org/officeDocument/2006/relationships/hyperlink" Target="https://pages.github.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www.writethedocs.org/" TargetMode="External"/><Relationship Id="rId3" Type="http://schemas.openxmlformats.org/officeDocument/2006/relationships/audio" Target="../media/media9.m4a"/><Relationship Id="rId7" Type="http://schemas.openxmlformats.org/officeDocument/2006/relationships/hyperlink" Target="https://www.presentationguild.org/" TargetMode="External"/><Relationship Id="rId2" Type="http://schemas.microsoft.com/office/2007/relationships/media" Target="../media/media9.m4a"/><Relationship Id="rId1" Type="http://schemas.openxmlformats.org/officeDocument/2006/relationships/tags" Target="../tags/tag10.xml"/><Relationship Id="rId6" Type="http://schemas.openxmlformats.org/officeDocument/2006/relationships/hyperlink" Target="mailto:John@MultimodalSlides.com?subject=I%20am%20interested%20in%20Multimodal%20Slides" TargetMode="External"/><Relationship Id="rId5" Type="http://schemas.openxmlformats.org/officeDocument/2006/relationships/notesSlide" Target="../notesSlides/notesSlide9.xml"/><Relationship Id="rId10" Type="http://schemas.openxmlformats.org/officeDocument/2006/relationships/image" Target="../media/image10.png"/><Relationship Id="rId4" Type="http://schemas.openxmlformats.org/officeDocument/2006/relationships/slideLayout" Target="../slideLayouts/slideLayout3.xml"/><Relationship Id="rId9"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hidden="1">
            <a:extLst>
              <a:ext uri="{FF2B5EF4-FFF2-40B4-BE49-F238E27FC236}">
                <a16:creationId xmlns:a16="http://schemas.microsoft.com/office/drawing/2014/main" id="{9A1F1555-2865-C098-8A6C-ECF6EE0A11E4}"/>
              </a:ext>
            </a:extLst>
          </p:cNvPr>
          <p:cNvSpPr>
            <a:spLocks noGrp="1"/>
          </p:cNvSpPr>
          <p:nvPr>
            <p:ph type="ctrTitle"/>
          </p:nvPr>
        </p:nvSpPr>
        <p:spPr>
          <a:xfrm>
            <a:off x="604983" y="355746"/>
            <a:ext cx="10982036" cy="3035154"/>
          </a:xfrm>
        </p:spPr>
        <p:txBody>
          <a:bodyPr/>
          <a:lstStyle/>
          <a:p>
            <a:r>
              <a:rPr lang="en-US" dirty="0"/>
              <a:t>Home</a:t>
            </a:r>
          </a:p>
        </p:txBody>
      </p:sp>
      <p:sp>
        <p:nvSpPr>
          <p:cNvPr id="14" name="Content Placeholder 13">
            <a:extLst>
              <a:ext uri="{FF2B5EF4-FFF2-40B4-BE49-F238E27FC236}">
                <a16:creationId xmlns:a16="http://schemas.microsoft.com/office/drawing/2014/main" id="{CCEA964B-545E-9492-B793-0AC26F0F8EB3}"/>
              </a:ext>
            </a:extLst>
          </p:cNvPr>
          <p:cNvSpPr>
            <a:spLocks noGrp="1"/>
          </p:cNvSpPr>
          <p:nvPr>
            <p:ph sz="quarter" idx="14"/>
          </p:nvPr>
        </p:nvSpPr>
        <p:spPr/>
        <p:txBody>
          <a:bodyPr/>
          <a:lstStyle/>
          <a:p>
            <a:endParaRPr lang="en-US"/>
          </a:p>
        </p:txBody>
      </p:sp>
      <p:sp>
        <p:nvSpPr>
          <p:cNvPr id="13" name="SectionNameTextPlaceholder">
            <a:extLst>
              <a:ext uri="{FF2B5EF4-FFF2-40B4-BE49-F238E27FC236}">
                <a16:creationId xmlns:a16="http://schemas.microsoft.com/office/drawing/2014/main" id="{FC7CC364-9397-4A71-7A11-6AF2F37A2866}"/>
              </a:ext>
            </a:extLst>
          </p:cNvPr>
          <p:cNvSpPr>
            <a:spLocks noGrp="1"/>
          </p:cNvSpPr>
          <p:nvPr>
            <p:ph type="body" idx="1"/>
          </p:nvPr>
        </p:nvSpPr>
        <p:spPr>
          <a:xfrm>
            <a:off x="6" y="6536608"/>
            <a:ext cx="6095994" cy="313241"/>
          </a:xfrm>
        </p:spPr>
        <p:txBody>
          <a:bodyPr>
            <a:normAutofit fontScale="92500"/>
          </a:bodyPr>
          <a:lstStyle/>
          <a:p>
            <a:r>
              <a:rPr lang="en-US" dirty="0"/>
              <a:t>(my voice – manually recorded using the Narration feature in PowerPoint)</a:t>
            </a:r>
          </a:p>
        </p:txBody>
      </p:sp>
      <p:sp>
        <p:nvSpPr>
          <p:cNvPr id="9" name="Freeform: Shape 8">
            <a:extLst>
              <a:ext uri="{FF2B5EF4-FFF2-40B4-BE49-F238E27FC236}">
                <a16:creationId xmlns:a16="http://schemas.microsoft.com/office/drawing/2014/main" id="{9EE54107-B473-A551-7A72-28A436DF07E7}"/>
              </a:ext>
            </a:extLst>
          </p:cNvPr>
          <p:cNvSpPr/>
          <p:nvPr/>
        </p:nvSpPr>
        <p:spPr>
          <a:xfrm>
            <a:off x="604983" y="3726158"/>
            <a:ext cx="3932960" cy="873953"/>
          </a:xfrm>
          <a:custGeom>
            <a:avLst/>
            <a:gdLst>
              <a:gd name="connsiteX0" fmla="*/ 0 w 3932960"/>
              <a:gd name="connsiteY0" fmla="*/ 145662 h 873953"/>
              <a:gd name="connsiteX1" fmla="*/ 145662 w 3932960"/>
              <a:gd name="connsiteY1" fmla="*/ 0 h 873953"/>
              <a:gd name="connsiteX2" fmla="*/ 3787298 w 3932960"/>
              <a:gd name="connsiteY2" fmla="*/ 0 h 873953"/>
              <a:gd name="connsiteX3" fmla="*/ 3932960 w 3932960"/>
              <a:gd name="connsiteY3" fmla="*/ 145662 h 873953"/>
              <a:gd name="connsiteX4" fmla="*/ 3932960 w 3932960"/>
              <a:gd name="connsiteY4" fmla="*/ 728291 h 873953"/>
              <a:gd name="connsiteX5" fmla="*/ 3787298 w 3932960"/>
              <a:gd name="connsiteY5" fmla="*/ 873953 h 873953"/>
              <a:gd name="connsiteX6" fmla="*/ 145662 w 3932960"/>
              <a:gd name="connsiteY6" fmla="*/ 873953 h 873953"/>
              <a:gd name="connsiteX7" fmla="*/ 0 w 3932960"/>
              <a:gd name="connsiteY7" fmla="*/ 728291 h 873953"/>
              <a:gd name="connsiteX8" fmla="*/ 0 w 3932960"/>
              <a:gd name="connsiteY8" fmla="*/ 145662 h 87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2960" h="873953">
                <a:moveTo>
                  <a:pt x="0" y="145662"/>
                </a:moveTo>
                <a:cubicBezTo>
                  <a:pt x="0" y="65215"/>
                  <a:pt x="65215" y="0"/>
                  <a:pt x="145662" y="0"/>
                </a:cubicBezTo>
                <a:lnTo>
                  <a:pt x="3787298" y="0"/>
                </a:lnTo>
                <a:cubicBezTo>
                  <a:pt x="3867745" y="0"/>
                  <a:pt x="3932960" y="65215"/>
                  <a:pt x="3932960" y="145662"/>
                </a:cubicBezTo>
                <a:lnTo>
                  <a:pt x="3932960" y="728291"/>
                </a:lnTo>
                <a:cubicBezTo>
                  <a:pt x="3932960" y="808738"/>
                  <a:pt x="3867745" y="873953"/>
                  <a:pt x="3787298" y="873953"/>
                </a:cubicBezTo>
                <a:lnTo>
                  <a:pt x="145662" y="873953"/>
                </a:lnTo>
                <a:cubicBezTo>
                  <a:pt x="65215" y="873953"/>
                  <a:pt x="0" y="808738"/>
                  <a:pt x="0" y="728291"/>
                </a:cubicBezTo>
                <a:lnTo>
                  <a:pt x="0" y="14566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6483" tIns="126483" rIns="126483" bIns="126483" numCol="1" spcCol="1270" anchor="ctr" anchorCtr="0">
            <a:noAutofit/>
          </a:bodyPr>
          <a:lstStyle/>
          <a:p>
            <a:pPr marL="0" lvl="0" indent="0" algn="l" defTabSz="977900">
              <a:lnSpc>
                <a:spcPct val="90000"/>
              </a:lnSpc>
              <a:spcBef>
                <a:spcPct val="0"/>
              </a:spcBef>
              <a:spcAft>
                <a:spcPct val="35000"/>
              </a:spcAft>
              <a:buNone/>
            </a:pPr>
            <a:r>
              <a:rPr lang="en-US" sz="2200" b="1" kern="1200" dirty="0"/>
              <a:t>What is Multimodal content?</a:t>
            </a:r>
          </a:p>
        </p:txBody>
      </p:sp>
      <p:sp>
        <p:nvSpPr>
          <p:cNvPr id="10" name="Freeform: Shape 9">
            <a:extLst>
              <a:ext uri="{FF2B5EF4-FFF2-40B4-BE49-F238E27FC236}">
                <a16:creationId xmlns:a16="http://schemas.microsoft.com/office/drawing/2014/main" id="{A7BFB802-171E-2A85-14B1-0465C50EA431}"/>
              </a:ext>
            </a:extLst>
          </p:cNvPr>
          <p:cNvSpPr/>
          <p:nvPr/>
        </p:nvSpPr>
        <p:spPr>
          <a:xfrm>
            <a:off x="604983" y="4663471"/>
            <a:ext cx="3932960" cy="873953"/>
          </a:xfrm>
          <a:custGeom>
            <a:avLst/>
            <a:gdLst>
              <a:gd name="connsiteX0" fmla="*/ 0 w 3932960"/>
              <a:gd name="connsiteY0" fmla="*/ 145662 h 873953"/>
              <a:gd name="connsiteX1" fmla="*/ 145662 w 3932960"/>
              <a:gd name="connsiteY1" fmla="*/ 0 h 873953"/>
              <a:gd name="connsiteX2" fmla="*/ 3787298 w 3932960"/>
              <a:gd name="connsiteY2" fmla="*/ 0 h 873953"/>
              <a:gd name="connsiteX3" fmla="*/ 3932960 w 3932960"/>
              <a:gd name="connsiteY3" fmla="*/ 145662 h 873953"/>
              <a:gd name="connsiteX4" fmla="*/ 3932960 w 3932960"/>
              <a:gd name="connsiteY4" fmla="*/ 728291 h 873953"/>
              <a:gd name="connsiteX5" fmla="*/ 3787298 w 3932960"/>
              <a:gd name="connsiteY5" fmla="*/ 873953 h 873953"/>
              <a:gd name="connsiteX6" fmla="*/ 145662 w 3932960"/>
              <a:gd name="connsiteY6" fmla="*/ 873953 h 873953"/>
              <a:gd name="connsiteX7" fmla="*/ 0 w 3932960"/>
              <a:gd name="connsiteY7" fmla="*/ 728291 h 873953"/>
              <a:gd name="connsiteX8" fmla="*/ 0 w 3932960"/>
              <a:gd name="connsiteY8" fmla="*/ 145662 h 87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2960" h="873953">
                <a:moveTo>
                  <a:pt x="0" y="145662"/>
                </a:moveTo>
                <a:cubicBezTo>
                  <a:pt x="0" y="65215"/>
                  <a:pt x="65215" y="0"/>
                  <a:pt x="145662" y="0"/>
                </a:cubicBezTo>
                <a:lnTo>
                  <a:pt x="3787298" y="0"/>
                </a:lnTo>
                <a:cubicBezTo>
                  <a:pt x="3867745" y="0"/>
                  <a:pt x="3932960" y="65215"/>
                  <a:pt x="3932960" y="145662"/>
                </a:cubicBezTo>
                <a:lnTo>
                  <a:pt x="3932960" y="728291"/>
                </a:lnTo>
                <a:cubicBezTo>
                  <a:pt x="3932960" y="808738"/>
                  <a:pt x="3867745" y="873953"/>
                  <a:pt x="3787298" y="873953"/>
                </a:cubicBezTo>
                <a:lnTo>
                  <a:pt x="145662" y="873953"/>
                </a:lnTo>
                <a:cubicBezTo>
                  <a:pt x="65215" y="873953"/>
                  <a:pt x="0" y="808738"/>
                  <a:pt x="0" y="728291"/>
                </a:cubicBezTo>
                <a:lnTo>
                  <a:pt x="0" y="14566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6483" tIns="126483" rIns="126483" bIns="126483" numCol="1" spcCol="1270" anchor="ctr" anchorCtr="0">
            <a:noAutofit/>
          </a:bodyPr>
          <a:lstStyle/>
          <a:p>
            <a:pPr marL="0" lvl="0" indent="0" algn="l" defTabSz="977900">
              <a:lnSpc>
                <a:spcPct val="90000"/>
              </a:lnSpc>
              <a:spcBef>
                <a:spcPct val="0"/>
              </a:spcBef>
              <a:spcAft>
                <a:spcPct val="35000"/>
              </a:spcAft>
              <a:buNone/>
            </a:pPr>
            <a:r>
              <a:rPr lang="en-US" sz="2200" kern="1200" dirty="0"/>
              <a:t>What tools are available to </a:t>
            </a:r>
            <a:r>
              <a:rPr lang="en-US" sz="2200" b="1" kern="1200" dirty="0"/>
              <a:t>create</a:t>
            </a:r>
            <a:r>
              <a:rPr lang="en-US" sz="2200" kern="1200" dirty="0"/>
              <a:t> Multimodal content?</a:t>
            </a:r>
          </a:p>
        </p:txBody>
      </p:sp>
      <p:sp>
        <p:nvSpPr>
          <p:cNvPr id="11" name="Freeform: Shape 10">
            <a:extLst>
              <a:ext uri="{FF2B5EF4-FFF2-40B4-BE49-F238E27FC236}">
                <a16:creationId xmlns:a16="http://schemas.microsoft.com/office/drawing/2014/main" id="{59A6F75D-C456-0094-A9C0-133DCB6419A9}"/>
              </a:ext>
            </a:extLst>
          </p:cNvPr>
          <p:cNvSpPr/>
          <p:nvPr/>
        </p:nvSpPr>
        <p:spPr>
          <a:xfrm>
            <a:off x="604983" y="5600785"/>
            <a:ext cx="3932960" cy="873953"/>
          </a:xfrm>
          <a:custGeom>
            <a:avLst/>
            <a:gdLst>
              <a:gd name="connsiteX0" fmla="*/ 0 w 3932960"/>
              <a:gd name="connsiteY0" fmla="*/ 145662 h 873953"/>
              <a:gd name="connsiteX1" fmla="*/ 145662 w 3932960"/>
              <a:gd name="connsiteY1" fmla="*/ 0 h 873953"/>
              <a:gd name="connsiteX2" fmla="*/ 3787298 w 3932960"/>
              <a:gd name="connsiteY2" fmla="*/ 0 h 873953"/>
              <a:gd name="connsiteX3" fmla="*/ 3932960 w 3932960"/>
              <a:gd name="connsiteY3" fmla="*/ 145662 h 873953"/>
              <a:gd name="connsiteX4" fmla="*/ 3932960 w 3932960"/>
              <a:gd name="connsiteY4" fmla="*/ 728291 h 873953"/>
              <a:gd name="connsiteX5" fmla="*/ 3787298 w 3932960"/>
              <a:gd name="connsiteY5" fmla="*/ 873953 h 873953"/>
              <a:gd name="connsiteX6" fmla="*/ 145662 w 3932960"/>
              <a:gd name="connsiteY6" fmla="*/ 873953 h 873953"/>
              <a:gd name="connsiteX7" fmla="*/ 0 w 3932960"/>
              <a:gd name="connsiteY7" fmla="*/ 728291 h 873953"/>
              <a:gd name="connsiteX8" fmla="*/ 0 w 3932960"/>
              <a:gd name="connsiteY8" fmla="*/ 145662 h 87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2960" h="873953">
                <a:moveTo>
                  <a:pt x="0" y="145662"/>
                </a:moveTo>
                <a:cubicBezTo>
                  <a:pt x="0" y="65215"/>
                  <a:pt x="65215" y="0"/>
                  <a:pt x="145662" y="0"/>
                </a:cubicBezTo>
                <a:lnTo>
                  <a:pt x="3787298" y="0"/>
                </a:lnTo>
                <a:cubicBezTo>
                  <a:pt x="3867745" y="0"/>
                  <a:pt x="3932960" y="65215"/>
                  <a:pt x="3932960" y="145662"/>
                </a:cubicBezTo>
                <a:lnTo>
                  <a:pt x="3932960" y="728291"/>
                </a:lnTo>
                <a:cubicBezTo>
                  <a:pt x="3932960" y="808738"/>
                  <a:pt x="3867745" y="873953"/>
                  <a:pt x="3787298" y="873953"/>
                </a:cubicBezTo>
                <a:lnTo>
                  <a:pt x="145662" y="873953"/>
                </a:lnTo>
                <a:cubicBezTo>
                  <a:pt x="65215" y="873953"/>
                  <a:pt x="0" y="808738"/>
                  <a:pt x="0" y="728291"/>
                </a:cubicBezTo>
                <a:lnTo>
                  <a:pt x="0" y="14566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6483" tIns="126483" rIns="126483" bIns="126483" numCol="1" spcCol="1270" anchor="ctr" anchorCtr="0">
            <a:noAutofit/>
          </a:bodyPr>
          <a:lstStyle/>
          <a:p>
            <a:pPr marL="0" lvl="0" indent="0" algn="l" defTabSz="977900">
              <a:lnSpc>
                <a:spcPct val="90000"/>
              </a:lnSpc>
              <a:spcBef>
                <a:spcPct val="0"/>
              </a:spcBef>
              <a:spcAft>
                <a:spcPct val="35000"/>
              </a:spcAft>
              <a:buNone/>
            </a:pPr>
            <a:r>
              <a:rPr lang="en-US" sz="2200" kern="1200" dirty="0"/>
              <a:t>How can you manage and </a:t>
            </a:r>
            <a:r>
              <a:rPr lang="en-US" sz="2200" b="1" kern="1200" dirty="0"/>
              <a:t>publish</a:t>
            </a:r>
            <a:r>
              <a:rPr lang="en-US" sz="2200" kern="1200" dirty="0"/>
              <a:t> Multimodal content?</a:t>
            </a:r>
          </a:p>
        </p:txBody>
      </p:sp>
      <p:pic>
        <p:nvPicPr>
          <p:cNvPr id="7" name="Picture 2" descr="Designing and Delivering PowerPoint Presentations - Center for Teaching  Excellence | University of South Carolina">
            <a:extLst>
              <a:ext uri="{FF2B5EF4-FFF2-40B4-BE49-F238E27FC236}">
                <a16:creationId xmlns:a16="http://schemas.microsoft.com/office/drawing/2014/main" id="{208BB896-ED38-6B22-97F8-242E1A3F00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57402" y="974992"/>
            <a:ext cx="3663179" cy="1554077"/>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a:extLst>
              <a:ext uri="{FF2B5EF4-FFF2-40B4-BE49-F238E27FC236}">
                <a16:creationId xmlns:a16="http://schemas.microsoft.com/office/drawing/2014/main" id="{DDE839FF-358E-5A42-21BE-B5406D58375C}"/>
              </a:ext>
            </a:extLst>
          </p:cNvPr>
          <p:cNvCxnSpPr>
            <a:cxnSpLocks/>
            <a:stCxn id="7" idx="3"/>
            <a:endCxn id="17" idx="1"/>
          </p:cNvCxnSpPr>
          <p:nvPr/>
        </p:nvCxnSpPr>
        <p:spPr>
          <a:xfrm>
            <a:off x="5320581" y="1752031"/>
            <a:ext cx="1488331"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36F77D08-32DA-2923-3315-714E0ADEDBD3}"/>
              </a:ext>
            </a:extLst>
          </p:cNvPr>
          <p:cNvSpPr/>
          <p:nvPr/>
        </p:nvSpPr>
        <p:spPr>
          <a:xfrm>
            <a:off x="6808912" y="974992"/>
            <a:ext cx="3663179" cy="155407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algn="ctr"/>
            <a:r>
              <a:rPr lang="en-US" sz="2800" dirty="0"/>
              <a:t>Multimodal Content</a:t>
            </a:r>
          </a:p>
        </p:txBody>
      </p:sp>
      <p:pic>
        <p:nvPicPr>
          <p:cNvPr id="26" name="Graphic 25" descr="Document with solid fill">
            <a:extLst>
              <a:ext uri="{FF2B5EF4-FFF2-40B4-BE49-F238E27FC236}">
                <a16:creationId xmlns:a16="http://schemas.microsoft.com/office/drawing/2014/main" id="{D99415DE-D884-0430-B8C2-747289AE199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00326" y="1568077"/>
            <a:ext cx="496010" cy="496010"/>
          </a:xfrm>
          <a:prstGeom prst="rect">
            <a:avLst/>
          </a:prstGeom>
        </p:spPr>
      </p:pic>
      <p:pic>
        <p:nvPicPr>
          <p:cNvPr id="27" name="Graphic 26" descr="Volume with solid fill">
            <a:extLst>
              <a:ext uri="{FF2B5EF4-FFF2-40B4-BE49-F238E27FC236}">
                <a16:creationId xmlns:a16="http://schemas.microsoft.com/office/drawing/2014/main" id="{96A58ED8-006F-A5C3-CBE6-2B2735BAA4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47238" y="1568077"/>
            <a:ext cx="496010" cy="496010"/>
          </a:xfrm>
          <a:prstGeom prst="rect">
            <a:avLst/>
          </a:prstGeom>
        </p:spPr>
      </p:pic>
      <p:pic>
        <p:nvPicPr>
          <p:cNvPr id="30" name="Graphic 29" descr="Eye with solid fill">
            <a:extLst>
              <a:ext uri="{FF2B5EF4-FFF2-40B4-BE49-F238E27FC236}">
                <a16:creationId xmlns:a16="http://schemas.microsoft.com/office/drawing/2014/main" id="{CB3513CF-D7B1-DA4A-1E25-A9C34A221BD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396209" y="1568077"/>
            <a:ext cx="496010" cy="496010"/>
          </a:xfrm>
          <a:prstGeom prst="rect">
            <a:avLst/>
          </a:prstGeom>
        </p:spPr>
      </p:pic>
      <p:sp>
        <p:nvSpPr>
          <p:cNvPr id="32" name="Rectangle 31">
            <a:extLst>
              <a:ext uri="{FF2B5EF4-FFF2-40B4-BE49-F238E27FC236}">
                <a16:creationId xmlns:a16="http://schemas.microsoft.com/office/drawing/2014/main" id="{A631720D-0B35-0AD2-DC01-479E677BF228}"/>
              </a:ext>
            </a:extLst>
          </p:cNvPr>
          <p:cNvSpPr/>
          <p:nvPr/>
        </p:nvSpPr>
        <p:spPr>
          <a:xfrm>
            <a:off x="7216815" y="2064087"/>
            <a:ext cx="821803" cy="32608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Read</a:t>
            </a:r>
          </a:p>
        </p:txBody>
      </p:sp>
      <p:sp>
        <p:nvSpPr>
          <p:cNvPr id="33" name="Rectangle 32">
            <a:extLst>
              <a:ext uri="{FF2B5EF4-FFF2-40B4-BE49-F238E27FC236}">
                <a16:creationId xmlns:a16="http://schemas.microsoft.com/office/drawing/2014/main" id="{543319D3-5D60-0582-252A-663B97331106}"/>
              </a:ext>
            </a:extLst>
          </p:cNvPr>
          <p:cNvSpPr/>
          <p:nvPr/>
        </p:nvSpPr>
        <p:spPr>
          <a:xfrm>
            <a:off x="8241142" y="2064087"/>
            <a:ext cx="821803" cy="32608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Listen</a:t>
            </a:r>
          </a:p>
        </p:txBody>
      </p:sp>
      <p:sp>
        <p:nvSpPr>
          <p:cNvPr id="34" name="Rectangle 33">
            <a:extLst>
              <a:ext uri="{FF2B5EF4-FFF2-40B4-BE49-F238E27FC236}">
                <a16:creationId xmlns:a16="http://schemas.microsoft.com/office/drawing/2014/main" id="{997C52C4-FD2A-5AC0-E0B9-D425A279EAC4}"/>
              </a:ext>
            </a:extLst>
          </p:cNvPr>
          <p:cNvSpPr/>
          <p:nvPr/>
        </p:nvSpPr>
        <p:spPr>
          <a:xfrm>
            <a:off x="9233312" y="2064087"/>
            <a:ext cx="821803" cy="32608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atch</a:t>
            </a:r>
          </a:p>
        </p:txBody>
      </p:sp>
      <p:sp>
        <p:nvSpPr>
          <p:cNvPr id="2" name="Rectangle: Rounded Corners 1">
            <a:extLst>
              <a:ext uri="{FF2B5EF4-FFF2-40B4-BE49-F238E27FC236}">
                <a16:creationId xmlns:a16="http://schemas.microsoft.com/office/drawing/2014/main" id="{18ACA17D-F6C9-AB60-7F95-C44FAB776E05}"/>
              </a:ext>
            </a:extLst>
          </p:cNvPr>
          <p:cNvSpPr/>
          <p:nvPr/>
        </p:nvSpPr>
        <p:spPr>
          <a:xfrm>
            <a:off x="58180" y="62603"/>
            <a:ext cx="2675404" cy="41279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 Preview Release ***</a:t>
            </a:r>
          </a:p>
        </p:txBody>
      </p:sp>
      <p:sp>
        <p:nvSpPr>
          <p:cNvPr id="12" name="Rectangle: Rounded Corners 11">
            <a:extLst>
              <a:ext uri="{FF2B5EF4-FFF2-40B4-BE49-F238E27FC236}">
                <a16:creationId xmlns:a16="http://schemas.microsoft.com/office/drawing/2014/main" id="{16CDBDBB-F27D-B891-FC75-5B514A0F688A}"/>
              </a:ext>
            </a:extLst>
          </p:cNvPr>
          <p:cNvSpPr/>
          <p:nvPr/>
        </p:nvSpPr>
        <p:spPr>
          <a:xfrm>
            <a:off x="10179512" y="62603"/>
            <a:ext cx="1954307" cy="41279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hlinkClick r:id="rId13"/>
              </a:rPr>
              <a:t>Watch</a:t>
            </a:r>
            <a:r>
              <a:rPr lang="en-US" dirty="0"/>
              <a:t> on</a:t>
            </a:r>
          </a:p>
        </p:txBody>
      </p:sp>
      <p:pic>
        <p:nvPicPr>
          <p:cNvPr id="6" name="WatchYouTubePicture" descr="http://www.logospike.com/wp-content/uploads/2014/11/Youtube_logo-4.png">
            <a:hlinkClick r:id="rId13"/>
            <a:extLst>
              <a:ext uri="{FF2B5EF4-FFF2-40B4-BE49-F238E27FC236}">
                <a16:creationId xmlns:a16="http://schemas.microsoft.com/office/drawing/2014/main" id="{23624504-6BBF-D06C-9492-C83281AFCAC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1284410" y="114134"/>
            <a:ext cx="788496" cy="309733"/>
          </a:xfrm>
          <a:prstGeom prst="rect">
            <a:avLst/>
          </a:prstGeom>
          <a:noFill/>
          <a:extLst>
            <a:ext uri="{909E8E84-426E-40DD-AFC4-6F175D3DCCD1}">
              <a14:hiddenFill xmlns:a14="http://schemas.microsoft.com/office/drawing/2010/main">
                <a:solidFill>
                  <a:srgbClr val="FFFFFF"/>
                </a:solidFill>
              </a14:hiddenFill>
            </a:ext>
          </a:extLst>
        </p:spPr>
      </p:pic>
      <p:pic>
        <p:nvPicPr>
          <p:cNvPr id="65" name="Audio 64">
            <a:hlinkClick r:id="" action="ppaction://media"/>
            <a:extLst>
              <a:ext uri="{FF2B5EF4-FFF2-40B4-BE49-F238E27FC236}">
                <a16:creationId xmlns:a16="http://schemas.microsoft.com/office/drawing/2014/main" id="{6F8D272A-50CD-214E-19F7-FC35A82A817C}"/>
              </a:ext>
            </a:extLst>
          </p:cNvPr>
          <p:cNvPicPr>
            <a:picLocks noChangeAspect="1"/>
          </p:cNvPicPr>
          <p:nvPr>
            <a:audioFile r:link="rId3"/>
            <p:extLst>
              <p:ext uri="{DAA4B4D4-6D71-4841-9C94-3DE7FCFB9230}">
                <p14:media xmlns:p14="http://schemas.microsoft.com/office/powerpoint/2010/main" r:embed="rId2"/>
              </p:ext>
            </p:extLst>
          </p:nvPr>
        </p:nvPicPr>
        <p:blipFill>
          <a:blip r:embed="rId15"/>
          <a:srcRect l="-118750" t="-118750" r="-118750" b="-118750"/>
          <a:stretch>
            <a:fillRect/>
          </a:stretch>
        </p:blipFill>
        <p:spPr>
          <a:xfrm>
            <a:off x="11696906" y="6362906"/>
            <a:ext cx="412797" cy="412797"/>
          </a:xfrm>
          <a:prstGeom prst="ellipse">
            <a:avLst/>
          </a:prstGeom>
        </p:spPr>
      </p:pic>
    </p:spTree>
    <p:custDataLst>
      <p:tags r:id="rId1"/>
    </p:custDataLst>
    <p:extLst>
      <p:ext uri="{BB962C8B-B14F-4D97-AF65-F5344CB8AC3E}">
        <p14:creationId xmlns:p14="http://schemas.microsoft.com/office/powerpoint/2010/main" val="4229997057"/>
      </p:ext>
    </p:extLst>
  </p:cSld>
  <p:clrMapOvr>
    <a:masterClrMapping/>
  </p:clrMapOvr>
  <mc:AlternateContent xmlns:mc="http://schemas.openxmlformats.org/markup-compatibility/2006">
    <mc:Choice xmlns:p14="http://schemas.microsoft.com/office/powerpoint/2010/main" Requires="p14">
      <p:transition spd="slow" p14:dur="2000" advTm="58116"/>
    </mc:Choice>
    <mc:Fallback>
      <p:transition spd="slow" advTm="5811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5"/>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3">
                                            <p:txEl>
                                              <p:pRg st="0" end="0"/>
                                            </p:txEl>
                                          </p:spTgt>
                                        </p:tgtEl>
                                        <p:attrNameLst>
                                          <p:attrName>style.visibility</p:attrName>
                                        </p:attrNameLst>
                                      </p:cBhvr>
                                      <p:to>
                                        <p:strVal val="visible"/>
                                      </p:to>
                                    </p:set>
                                    <p:animEffect transition="in" filter="fade">
                                      <p:cBhvr>
                                        <p:cTn id="39"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0" fill="hold" display="0">
                  <p:stCondLst>
                    <p:cond delay="indefinite"/>
                  </p:stCondLst>
                  <p:endCondLst>
                    <p:cond evt="onStopAudio" delay="0">
                      <p:tgtEl>
                        <p:sldTgt/>
                      </p:tgtEl>
                    </p:cond>
                  </p:endCondLst>
                </p:cTn>
                <p:tgtEl>
                  <p:spTgt spid="65"/>
                </p:tgtEl>
              </p:cMediaNode>
            </p:audio>
          </p:childTnLst>
        </p:cTn>
      </p:par>
    </p:tnLst>
    <p:bldLst>
      <p:bldP spid="13" grpId="0" build="p" autoUpdateAnimBg="0"/>
      <p:bldP spid="9" grpId="0" animBg="1" autoUpdateAnimBg="0"/>
      <p:bldP spid="10" grpId="0" animBg="1" autoUpdateAnimBg="0"/>
      <p:bldP spid="11" grpId="0" animBg="1" autoUpdateAnimBg="0"/>
      <p:bldP spid="2" grpId="0" animBg="1" autoUpdateAnimBg="0"/>
      <p:bldP spid="12" grpId="0" animBg="1" autoUpdateAnimBg="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tionNameTextPlaceholder">
            <a:extLst>
              <a:ext uri="{FF2B5EF4-FFF2-40B4-BE49-F238E27FC236}">
                <a16:creationId xmlns:a16="http://schemas.microsoft.com/office/drawing/2014/main" id="{67DE2854-D6E4-DB5F-DDFD-8C3F940611D4}"/>
              </a:ext>
            </a:extLst>
          </p:cNvPr>
          <p:cNvSpPr>
            <a:spLocks noGrp="1"/>
          </p:cNvSpPr>
          <p:nvPr>
            <p:ph type="body" idx="1"/>
          </p:nvPr>
        </p:nvSpPr>
        <p:spPr/>
        <p:txBody>
          <a:bodyPr/>
          <a:lstStyle/>
          <a:p>
            <a:r>
              <a:rPr lang="en-US" dirty="0"/>
              <a:t>Text-to-Speech with Davis - a Male Voice</a:t>
            </a:r>
          </a:p>
        </p:txBody>
      </p:sp>
      <p:sp>
        <p:nvSpPr>
          <p:cNvPr id="3" name="Title 2">
            <a:extLst>
              <a:ext uri="{FF2B5EF4-FFF2-40B4-BE49-F238E27FC236}">
                <a16:creationId xmlns:a16="http://schemas.microsoft.com/office/drawing/2014/main" id="{196E6A15-703F-35BE-4188-38857EAD0F74}"/>
              </a:ext>
            </a:extLst>
          </p:cNvPr>
          <p:cNvSpPr>
            <a:spLocks noGrp="1"/>
          </p:cNvSpPr>
          <p:nvPr>
            <p:ph type="title"/>
          </p:nvPr>
        </p:nvSpPr>
        <p:spPr/>
        <p:txBody>
          <a:bodyPr/>
          <a:lstStyle/>
          <a:p>
            <a:r>
              <a:rPr lang="en-US" dirty="0"/>
              <a:t>Not many options for Slide-based Tools</a:t>
            </a:r>
          </a:p>
        </p:txBody>
      </p:sp>
      <p:sp>
        <p:nvSpPr>
          <p:cNvPr id="4" name="Text Placeholder 3">
            <a:extLst>
              <a:ext uri="{FF2B5EF4-FFF2-40B4-BE49-F238E27FC236}">
                <a16:creationId xmlns:a16="http://schemas.microsoft.com/office/drawing/2014/main" id="{EEBA8955-0F54-1053-3DE0-75A108AFF20C}"/>
              </a:ext>
            </a:extLst>
          </p:cNvPr>
          <p:cNvSpPr>
            <a:spLocks noGrp="1"/>
          </p:cNvSpPr>
          <p:nvPr>
            <p:ph type="body" sz="quarter" idx="3"/>
          </p:nvPr>
        </p:nvSpPr>
        <p:spPr/>
        <p:txBody>
          <a:bodyPr/>
          <a:lstStyle/>
          <a:p>
            <a:endParaRPr lang="en-US" dirty="0"/>
          </a:p>
        </p:txBody>
      </p:sp>
      <p:sp>
        <p:nvSpPr>
          <p:cNvPr id="7" name="Freeform: Shape 6">
            <a:extLst>
              <a:ext uri="{FF2B5EF4-FFF2-40B4-BE49-F238E27FC236}">
                <a16:creationId xmlns:a16="http://schemas.microsoft.com/office/drawing/2014/main" id="{F88A4962-A261-BD13-C4C6-A11AE59426B0}"/>
              </a:ext>
            </a:extLst>
          </p:cNvPr>
          <p:cNvSpPr/>
          <p:nvPr/>
        </p:nvSpPr>
        <p:spPr>
          <a:xfrm>
            <a:off x="4403896" y="878600"/>
            <a:ext cx="7714212" cy="1488769"/>
          </a:xfrm>
          <a:custGeom>
            <a:avLst/>
            <a:gdLst>
              <a:gd name="connsiteX0" fmla="*/ 248133 w 1488768"/>
              <a:gd name="connsiteY0" fmla="*/ 0 h 7714211"/>
              <a:gd name="connsiteX1" fmla="*/ 1240635 w 1488768"/>
              <a:gd name="connsiteY1" fmla="*/ 0 h 7714211"/>
              <a:gd name="connsiteX2" fmla="*/ 1488768 w 1488768"/>
              <a:gd name="connsiteY2" fmla="*/ 248133 h 7714211"/>
              <a:gd name="connsiteX3" fmla="*/ 1488768 w 1488768"/>
              <a:gd name="connsiteY3" fmla="*/ 7714211 h 7714211"/>
              <a:gd name="connsiteX4" fmla="*/ 1488768 w 1488768"/>
              <a:gd name="connsiteY4" fmla="*/ 7714211 h 7714211"/>
              <a:gd name="connsiteX5" fmla="*/ 0 w 1488768"/>
              <a:gd name="connsiteY5" fmla="*/ 7714211 h 7714211"/>
              <a:gd name="connsiteX6" fmla="*/ 0 w 1488768"/>
              <a:gd name="connsiteY6" fmla="*/ 7714211 h 7714211"/>
              <a:gd name="connsiteX7" fmla="*/ 0 w 1488768"/>
              <a:gd name="connsiteY7" fmla="*/ 248133 h 7714211"/>
              <a:gd name="connsiteX8" fmla="*/ 248133 w 1488768"/>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768" h="7714211">
                <a:moveTo>
                  <a:pt x="1488768" y="1285729"/>
                </a:moveTo>
                <a:lnTo>
                  <a:pt x="1488768" y="6428482"/>
                </a:lnTo>
                <a:cubicBezTo>
                  <a:pt x="1488768" y="7138569"/>
                  <a:pt x="1467328" y="7714208"/>
                  <a:pt x="1440881" y="7714208"/>
                </a:cubicBezTo>
                <a:lnTo>
                  <a:pt x="0" y="7714208"/>
                </a:lnTo>
                <a:lnTo>
                  <a:pt x="0" y="7714208"/>
                </a:lnTo>
                <a:lnTo>
                  <a:pt x="0" y="3"/>
                </a:lnTo>
                <a:lnTo>
                  <a:pt x="0" y="3"/>
                </a:lnTo>
                <a:lnTo>
                  <a:pt x="1440881" y="3"/>
                </a:lnTo>
                <a:cubicBezTo>
                  <a:pt x="1467328" y="3"/>
                  <a:pt x="1488768" y="575642"/>
                  <a:pt x="1488768" y="1285729"/>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9061" tIns="122206" rIns="171736" bIns="122207" numCol="1" spcCol="1270" anchor="ctr" anchorCtr="0">
            <a:noAutofit/>
          </a:bodyPr>
          <a:lstStyle/>
          <a:p>
            <a:pPr marL="228600" lvl="1" indent="-228600" algn="l" defTabSz="1155700">
              <a:lnSpc>
                <a:spcPct val="90000"/>
              </a:lnSpc>
              <a:spcBef>
                <a:spcPct val="0"/>
              </a:spcBef>
              <a:spcAft>
                <a:spcPct val="15000"/>
              </a:spcAft>
              <a:buChar char="•"/>
            </a:pPr>
            <a:r>
              <a:rPr lang="en-US" sz="2600" kern="1200" dirty="0">
                <a:hlinkClick r:id="rId6"/>
              </a:rPr>
              <a:t>Slideshare.net</a:t>
            </a:r>
            <a:endParaRPr lang="en-US" sz="2600" kern="1200" dirty="0"/>
          </a:p>
          <a:p>
            <a:pPr marL="228600" lvl="1" indent="-228600" algn="l" defTabSz="1155700">
              <a:lnSpc>
                <a:spcPct val="90000"/>
              </a:lnSpc>
              <a:spcBef>
                <a:spcPct val="0"/>
              </a:spcBef>
              <a:spcAft>
                <a:spcPct val="15000"/>
              </a:spcAft>
              <a:buChar char="•"/>
            </a:pPr>
            <a:r>
              <a:rPr lang="en-US" sz="2600" kern="1200" dirty="0">
                <a:hlinkClick r:id="rId7"/>
              </a:rPr>
              <a:t>Speaker Deck</a:t>
            </a:r>
            <a:endParaRPr lang="en-US" sz="2600" kern="1200" dirty="0"/>
          </a:p>
          <a:p>
            <a:pPr marL="228600" lvl="1" indent="-228600" algn="l" defTabSz="1155700">
              <a:lnSpc>
                <a:spcPct val="90000"/>
              </a:lnSpc>
              <a:spcBef>
                <a:spcPct val="0"/>
              </a:spcBef>
              <a:spcAft>
                <a:spcPct val="15000"/>
              </a:spcAft>
              <a:buChar char="•"/>
            </a:pPr>
            <a:r>
              <a:rPr lang="en-US" sz="2600" kern="1200" dirty="0" err="1">
                <a:hlinkClick r:id="rId8"/>
              </a:rPr>
              <a:t>DeckLinks</a:t>
            </a:r>
            <a:endParaRPr lang="en-US" sz="2600" kern="1200" dirty="0"/>
          </a:p>
        </p:txBody>
      </p:sp>
      <p:sp>
        <p:nvSpPr>
          <p:cNvPr id="8" name="Freeform: Shape 7">
            <a:extLst>
              <a:ext uri="{FF2B5EF4-FFF2-40B4-BE49-F238E27FC236}">
                <a16:creationId xmlns:a16="http://schemas.microsoft.com/office/drawing/2014/main" id="{279FDD15-CB80-805B-1919-70B9468BBAA6}"/>
              </a:ext>
            </a:extLst>
          </p:cNvPr>
          <p:cNvSpPr/>
          <p:nvPr/>
        </p:nvSpPr>
        <p:spPr>
          <a:xfrm>
            <a:off x="64653" y="692503"/>
            <a:ext cx="4339243" cy="1860960"/>
          </a:xfrm>
          <a:custGeom>
            <a:avLst/>
            <a:gdLst>
              <a:gd name="connsiteX0" fmla="*/ 0 w 4339243"/>
              <a:gd name="connsiteY0" fmla="*/ 310166 h 1860960"/>
              <a:gd name="connsiteX1" fmla="*/ 310166 w 4339243"/>
              <a:gd name="connsiteY1" fmla="*/ 0 h 1860960"/>
              <a:gd name="connsiteX2" fmla="*/ 4029077 w 4339243"/>
              <a:gd name="connsiteY2" fmla="*/ 0 h 1860960"/>
              <a:gd name="connsiteX3" fmla="*/ 4339243 w 4339243"/>
              <a:gd name="connsiteY3" fmla="*/ 310166 h 1860960"/>
              <a:gd name="connsiteX4" fmla="*/ 4339243 w 4339243"/>
              <a:gd name="connsiteY4" fmla="*/ 1550794 h 1860960"/>
              <a:gd name="connsiteX5" fmla="*/ 4029077 w 4339243"/>
              <a:gd name="connsiteY5" fmla="*/ 1860960 h 1860960"/>
              <a:gd name="connsiteX6" fmla="*/ 310166 w 4339243"/>
              <a:gd name="connsiteY6" fmla="*/ 1860960 h 1860960"/>
              <a:gd name="connsiteX7" fmla="*/ 0 w 4339243"/>
              <a:gd name="connsiteY7" fmla="*/ 1550794 h 1860960"/>
              <a:gd name="connsiteX8" fmla="*/ 0 w 4339243"/>
              <a:gd name="connsiteY8" fmla="*/ 310166 h 18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243" h="1860960">
                <a:moveTo>
                  <a:pt x="0" y="310166"/>
                </a:moveTo>
                <a:cubicBezTo>
                  <a:pt x="0" y="138866"/>
                  <a:pt x="138866" y="0"/>
                  <a:pt x="310166" y="0"/>
                </a:cubicBezTo>
                <a:lnTo>
                  <a:pt x="4029077" y="0"/>
                </a:lnTo>
                <a:cubicBezTo>
                  <a:pt x="4200377" y="0"/>
                  <a:pt x="4339243" y="138866"/>
                  <a:pt x="4339243" y="310166"/>
                </a:cubicBezTo>
                <a:lnTo>
                  <a:pt x="4339243" y="1550794"/>
                </a:lnTo>
                <a:cubicBezTo>
                  <a:pt x="4339243" y="1722094"/>
                  <a:pt x="4200377" y="1860960"/>
                  <a:pt x="4029077" y="1860960"/>
                </a:cubicBezTo>
                <a:lnTo>
                  <a:pt x="310166" y="1860960"/>
                </a:lnTo>
                <a:cubicBezTo>
                  <a:pt x="138866" y="1860960"/>
                  <a:pt x="0" y="1722094"/>
                  <a:pt x="0" y="1550794"/>
                </a:cubicBezTo>
                <a:lnTo>
                  <a:pt x="0" y="3101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9445" tIns="205145" rIns="319445" bIns="205145" numCol="1" spcCol="1270" anchor="ctr" anchorCtr="0">
            <a:noAutofit/>
          </a:bodyPr>
          <a:lstStyle/>
          <a:p>
            <a:pPr marL="0" lvl="0" indent="0" algn="ctr" defTabSz="2667000">
              <a:lnSpc>
                <a:spcPct val="90000"/>
              </a:lnSpc>
              <a:spcBef>
                <a:spcPct val="0"/>
              </a:spcBef>
              <a:spcAft>
                <a:spcPct val="35000"/>
              </a:spcAft>
              <a:buNone/>
            </a:pPr>
            <a:r>
              <a:rPr lang="en-US" sz="6000" kern="1200" dirty="0"/>
              <a:t>Too Limited</a:t>
            </a:r>
            <a:br>
              <a:rPr lang="en-US" sz="6000" kern="1200" dirty="0"/>
            </a:br>
            <a:r>
              <a:rPr lang="en-US" sz="3600" kern="1200" dirty="0"/>
              <a:t>(Slide Sharing)</a:t>
            </a:r>
            <a:endParaRPr lang="en-US" sz="4500" kern="1200" dirty="0"/>
          </a:p>
        </p:txBody>
      </p:sp>
      <p:sp>
        <p:nvSpPr>
          <p:cNvPr id="9" name="Freeform: Shape 8">
            <a:extLst>
              <a:ext uri="{FF2B5EF4-FFF2-40B4-BE49-F238E27FC236}">
                <a16:creationId xmlns:a16="http://schemas.microsoft.com/office/drawing/2014/main" id="{8C5B4FEA-4B6C-41A0-1E72-6CF49F1A8B2E}"/>
              </a:ext>
            </a:extLst>
          </p:cNvPr>
          <p:cNvSpPr/>
          <p:nvPr/>
        </p:nvSpPr>
        <p:spPr>
          <a:xfrm>
            <a:off x="4403896" y="2832608"/>
            <a:ext cx="7714212" cy="1488769"/>
          </a:xfrm>
          <a:custGeom>
            <a:avLst/>
            <a:gdLst>
              <a:gd name="connsiteX0" fmla="*/ 248133 w 1488768"/>
              <a:gd name="connsiteY0" fmla="*/ 0 h 7714211"/>
              <a:gd name="connsiteX1" fmla="*/ 1240635 w 1488768"/>
              <a:gd name="connsiteY1" fmla="*/ 0 h 7714211"/>
              <a:gd name="connsiteX2" fmla="*/ 1488768 w 1488768"/>
              <a:gd name="connsiteY2" fmla="*/ 248133 h 7714211"/>
              <a:gd name="connsiteX3" fmla="*/ 1488768 w 1488768"/>
              <a:gd name="connsiteY3" fmla="*/ 7714211 h 7714211"/>
              <a:gd name="connsiteX4" fmla="*/ 1488768 w 1488768"/>
              <a:gd name="connsiteY4" fmla="*/ 7714211 h 7714211"/>
              <a:gd name="connsiteX5" fmla="*/ 0 w 1488768"/>
              <a:gd name="connsiteY5" fmla="*/ 7714211 h 7714211"/>
              <a:gd name="connsiteX6" fmla="*/ 0 w 1488768"/>
              <a:gd name="connsiteY6" fmla="*/ 7714211 h 7714211"/>
              <a:gd name="connsiteX7" fmla="*/ 0 w 1488768"/>
              <a:gd name="connsiteY7" fmla="*/ 248133 h 7714211"/>
              <a:gd name="connsiteX8" fmla="*/ 248133 w 1488768"/>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768" h="7714211">
                <a:moveTo>
                  <a:pt x="1488768" y="1285729"/>
                </a:moveTo>
                <a:lnTo>
                  <a:pt x="1488768" y="6428482"/>
                </a:lnTo>
                <a:cubicBezTo>
                  <a:pt x="1488768" y="7138569"/>
                  <a:pt x="1467328" y="7714208"/>
                  <a:pt x="1440881" y="7714208"/>
                </a:cubicBezTo>
                <a:lnTo>
                  <a:pt x="0" y="7714208"/>
                </a:lnTo>
                <a:lnTo>
                  <a:pt x="0" y="7714208"/>
                </a:lnTo>
                <a:lnTo>
                  <a:pt x="0" y="3"/>
                </a:lnTo>
                <a:lnTo>
                  <a:pt x="0" y="3"/>
                </a:lnTo>
                <a:lnTo>
                  <a:pt x="1440881" y="3"/>
                </a:lnTo>
                <a:cubicBezTo>
                  <a:pt x="1467328" y="3"/>
                  <a:pt x="1488768" y="575642"/>
                  <a:pt x="1488768" y="1285729"/>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9061" tIns="122206" rIns="171736" bIns="122207" numCol="1" spcCol="1270" anchor="ctr" anchorCtr="0">
            <a:noAutofit/>
          </a:bodyPr>
          <a:lstStyle/>
          <a:p>
            <a:pPr marL="228600" lvl="1" indent="-228600" algn="l" defTabSz="1155700">
              <a:lnSpc>
                <a:spcPct val="90000"/>
              </a:lnSpc>
              <a:spcBef>
                <a:spcPct val="0"/>
              </a:spcBef>
              <a:spcAft>
                <a:spcPct val="15000"/>
              </a:spcAft>
              <a:buChar char="•"/>
            </a:pPr>
            <a:r>
              <a:rPr lang="en-US" sz="2600" kern="1200" dirty="0" err="1">
                <a:hlinkClick r:id="rId9"/>
              </a:rPr>
              <a:t>iSpring</a:t>
            </a:r>
            <a:r>
              <a:rPr lang="en-US" sz="2600" kern="1200" dirty="0">
                <a:hlinkClick r:id="rId9"/>
              </a:rPr>
              <a:t> Solutions</a:t>
            </a:r>
            <a:endParaRPr lang="en-US" sz="2600" kern="1200" dirty="0"/>
          </a:p>
          <a:p>
            <a:pPr marL="228600" lvl="1" indent="-228600" algn="l" defTabSz="1155700">
              <a:lnSpc>
                <a:spcPct val="90000"/>
              </a:lnSpc>
              <a:spcBef>
                <a:spcPct val="0"/>
              </a:spcBef>
              <a:spcAft>
                <a:spcPct val="15000"/>
              </a:spcAft>
              <a:buChar char="•"/>
            </a:pPr>
            <a:r>
              <a:rPr lang="en-US" sz="2600" kern="1200" dirty="0">
                <a:hlinkClick r:id="rId10"/>
              </a:rPr>
              <a:t>Articulate Storyline</a:t>
            </a:r>
            <a:endParaRPr lang="en-US" sz="2600" kern="1200" dirty="0"/>
          </a:p>
          <a:p>
            <a:pPr marL="228600" lvl="1" indent="-228600" algn="l" defTabSz="1155700">
              <a:lnSpc>
                <a:spcPct val="90000"/>
              </a:lnSpc>
              <a:spcBef>
                <a:spcPct val="0"/>
              </a:spcBef>
              <a:spcAft>
                <a:spcPct val="15000"/>
              </a:spcAft>
              <a:buChar char="•"/>
            </a:pPr>
            <a:r>
              <a:rPr lang="en-US" sz="2600" kern="1200" dirty="0">
                <a:hlinkClick r:id="rId11"/>
              </a:rPr>
              <a:t>Adobe Captivate</a:t>
            </a:r>
            <a:endParaRPr lang="en-US" sz="2600" kern="1200" dirty="0"/>
          </a:p>
        </p:txBody>
      </p:sp>
      <p:sp>
        <p:nvSpPr>
          <p:cNvPr id="10" name="Freeform: Shape 9">
            <a:extLst>
              <a:ext uri="{FF2B5EF4-FFF2-40B4-BE49-F238E27FC236}">
                <a16:creationId xmlns:a16="http://schemas.microsoft.com/office/drawing/2014/main" id="{A4964821-C765-5BF6-D153-CAD60944780A}"/>
              </a:ext>
            </a:extLst>
          </p:cNvPr>
          <p:cNvSpPr/>
          <p:nvPr/>
        </p:nvSpPr>
        <p:spPr>
          <a:xfrm>
            <a:off x="64653" y="2646511"/>
            <a:ext cx="4339243" cy="1860960"/>
          </a:xfrm>
          <a:custGeom>
            <a:avLst/>
            <a:gdLst>
              <a:gd name="connsiteX0" fmla="*/ 0 w 4339243"/>
              <a:gd name="connsiteY0" fmla="*/ 310166 h 1860960"/>
              <a:gd name="connsiteX1" fmla="*/ 310166 w 4339243"/>
              <a:gd name="connsiteY1" fmla="*/ 0 h 1860960"/>
              <a:gd name="connsiteX2" fmla="*/ 4029077 w 4339243"/>
              <a:gd name="connsiteY2" fmla="*/ 0 h 1860960"/>
              <a:gd name="connsiteX3" fmla="*/ 4339243 w 4339243"/>
              <a:gd name="connsiteY3" fmla="*/ 310166 h 1860960"/>
              <a:gd name="connsiteX4" fmla="*/ 4339243 w 4339243"/>
              <a:gd name="connsiteY4" fmla="*/ 1550794 h 1860960"/>
              <a:gd name="connsiteX5" fmla="*/ 4029077 w 4339243"/>
              <a:gd name="connsiteY5" fmla="*/ 1860960 h 1860960"/>
              <a:gd name="connsiteX6" fmla="*/ 310166 w 4339243"/>
              <a:gd name="connsiteY6" fmla="*/ 1860960 h 1860960"/>
              <a:gd name="connsiteX7" fmla="*/ 0 w 4339243"/>
              <a:gd name="connsiteY7" fmla="*/ 1550794 h 1860960"/>
              <a:gd name="connsiteX8" fmla="*/ 0 w 4339243"/>
              <a:gd name="connsiteY8" fmla="*/ 310166 h 18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243" h="1860960">
                <a:moveTo>
                  <a:pt x="0" y="310166"/>
                </a:moveTo>
                <a:cubicBezTo>
                  <a:pt x="0" y="138866"/>
                  <a:pt x="138866" y="0"/>
                  <a:pt x="310166" y="0"/>
                </a:cubicBezTo>
                <a:lnTo>
                  <a:pt x="4029077" y="0"/>
                </a:lnTo>
                <a:cubicBezTo>
                  <a:pt x="4200377" y="0"/>
                  <a:pt x="4339243" y="138866"/>
                  <a:pt x="4339243" y="310166"/>
                </a:cubicBezTo>
                <a:lnTo>
                  <a:pt x="4339243" y="1550794"/>
                </a:lnTo>
                <a:cubicBezTo>
                  <a:pt x="4339243" y="1722094"/>
                  <a:pt x="4200377" y="1860960"/>
                  <a:pt x="4029077" y="1860960"/>
                </a:cubicBezTo>
                <a:lnTo>
                  <a:pt x="310166" y="1860960"/>
                </a:lnTo>
                <a:cubicBezTo>
                  <a:pt x="138866" y="1860960"/>
                  <a:pt x="0" y="1722094"/>
                  <a:pt x="0" y="1550794"/>
                </a:cubicBezTo>
                <a:lnTo>
                  <a:pt x="0" y="3101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9445" tIns="205145" rIns="319445" bIns="205145" numCol="1" spcCol="1270" anchor="ctr" anchorCtr="0">
            <a:noAutofit/>
          </a:bodyPr>
          <a:lstStyle/>
          <a:p>
            <a:pPr marL="0" lvl="0" indent="0" algn="ctr" defTabSz="2667000">
              <a:lnSpc>
                <a:spcPct val="90000"/>
              </a:lnSpc>
              <a:spcBef>
                <a:spcPct val="0"/>
              </a:spcBef>
              <a:spcAft>
                <a:spcPct val="35000"/>
              </a:spcAft>
              <a:buNone/>
            </a:pPr>
            <a:r>
              <a:rPr lang="en-US" sz="6000" kern="1200" dirty="0"/>
              <a:t>Too Much</a:t>
            </a:r>
            <a:br>
              <a:rPr lang="en-US" sz="6000" kern="1200" dirty="0"/>
            </a:br>
            <a:r>
              <a:rPr lang="en-US" sz="3600" kern="1200" dirty="0"/>
              <a:t>(LMS Platforms)</a:t>
            </a:r>
          </a:p>
        </p:txBody>
      </p:sp>
      <p:sp>
        <p:nvSpPr>
          <p:cNvPr id="11" name="Freeform: Shape 10">
            <a:extLst>
              <a:ext uri="{FF2B5EF4-FFF2-40B4-BE49-F238E27FC236}">
                <a16:creationId xmlns:a16="http://schemas.microsoft.com/office/drawing/2014/main" id="{470ED9E1-0DBF-31D7-A393-0BD5FC3A07BE}"/>
              </a:ext>
            </a:extLst>
          </p:cNvPr>
          <p:cNvSpPr/>
          <p:nvPr/>
        </p:nvSpPr>
        <p:spPr>
          <a:xfrm>
            <a:off x="4403896" y="4786615"/>
            <a:ext cx="7714212" cy="1488769"/>
          </a:xfrm>
          <a:custGeom>
            <a:avLst/>
            <a:gdLst>
              <a:gd name="connsiteX0" fmla="*/ 248133 w 1488768"/>
              <a:gd name="connsiteY0" fmla="*/ 0 h 7714211"/>
              <a:gd name="connsiteX1" fmla="*/ 1240635 w 1488768"/>
              <a:gd name="connsiteY1" fmla="*/ 0 h 7714211"/>
              <a:gd name="connsiteX2" fmla="*/ 1488768 w 1488768"/>
              <a:gd name="connsiteY2" fmla="*/ 248133 h 7714211"/>
              <a:gd name="connsiteX3" fmla="*/ 1488768 w 1488768"/>
              <a:gd name="connsiteY3" fmla="*/ 7714211 h 7714211"/>
              <a:gd name="connsiteX4" fmla="*/ 1488768 w 1488768"/>
              <a:gd name="connsiteY4" fmla="*/ 7714211 h 7714211"/>
              <a:gd name="connsiteX5" fmla="*/ 0 w 1488768"/>
              <a:gd name="connsiteY5" fmla="*/ 7714211 h 7714211"/>
              <a:gd name="connsiteX6" fmla="*/ 0 w 1488768"/>
              <a:gd name="connsiteY6" fmla="*/ 7714211 h 7714211"/>
              <a:gd name="connsiteX7" fmla="*/ 0 w 1488768"/>
              <a:gd name="connsiteY7" fmla="*/ 248133 h 7714211"/>
              <a:gd name="connsiteX8" fmla="*/ 248133 w 1488768"/>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768" h="7714211">
                <a:moveTo>
                  <a:pt x="1488768" y="1285729"/>
                </a:moveTo>
                <a:lnTo>
                  <a:pt x="1488768" y="6428482"/>
                </a:lnTo>
                <a:cubicBezTo>
                  <a:pt x="1488768" y="7138569"/>
                  <a:pt x="1467328" y="7714208"/>
                  <a:pt x="1440881" y="7714208"/>
                </a:cubicBezTo>
                <a:lnTo>
                  <a:pt x="0" y="7714208"/>
                </a:lnTo>
                <a:lnTo>
                  <a:pt x="0" y="7714208"/>
                </a:lnTo>
                <a:lnTo>
                  <a:pt x="0" y="3"/>
                </a:lnTo>
                <a:lnTo>
                  <a:pt x="0" y="3"/>
                </a:lnTo>
                <a:lnTo>
                  <a:pt x="1440881" y="3"/>
                </a:lnTo>
                <a:cubicBezTo>
                  <a:pt x="1467328" y="3"/>
                  <a:pt x="1488768" y="575642"/>
                  <a:pt x="1488768" y="1285729"/>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9061" tIns="122206" rIns="171736" bIns="122207" numCol="1" spcCol="1270" anchor="ctr" anchorCtr="0">
            <a:noAutofit/>
          </a:bodyPr>
          <a:lstStyle/>
          <a:p>
            <a:pPr marL="228600" lvl="1" indent="-228600" algn="l" defTabSz="1155700">
              <a:lnSpc>
                <a:spcPct val="90000"/>
              </a:lnSpc>
              <a:spcBef>
                <a:spcPct val="0"/>
              </a:spcBef>
              <a:spcAft>
                <a:spcPct val="15000"/>
              </a:spcAft>
              <a:buChar char="•"/>
            </a:pPr>
            <a:r>
              <a:rPr lang="en-US" sz="2600" kern="1200" dirty="0">
                <a:hlinkClick r:id="rId12"/>
              </a:rPr>
              <a:t>Canva</a:t>
            </a:r>
            <a:endParaRPr lang="en-US" sz="2600" kern="1200" dirty="0"/>
          </a:p>
          <a:p>
            <a:pPr marL="228600" lvl="1" indent="-228600" algn="l" defTabSz="1155700">
              <a:lnSpc>
                <a:spcPct val="90000"/>
              </a:lnSpc>
              <a:spcBef>
                <a:spcPct val="0"/>
              </a:spcBef>
              <a:spcAft>
                <a:spcPct val="15000"/>
              </a:spcAft>
              <a:buChar char="•"/>
            </a:pPr>
            <a:r>
              <a:rPr lang="en-US" sz="2600" kern="1200" dirty="0">
                <a:hlinkClick r:id="rId13"/>
              </a:rPr>
              <a:t>Prezi</a:t>
            </a:r>
            <a:endParaRPr lang="en-US" sz="2600" kern="1200" dirty="0"/>
          </a:p>
          <a:p>
            <a:pPr marL="228600" lvl="1" indent="-228600" algn="l" defTabSz="1155700">
              <a:lnSpc>
                <a:spcPct val="90000"/>
              </a:lnSpc>
              <a:spcBef>
                <a:spcPct val="0"/>
              </a:spcBef>
              <a:spcAft>
                <a:spcPct val="15000"/>
              </a:spcAft>
              <a:buChar char="•"/>
            </a:pPr>
            <a:r>
              <a:rPr lang="en-US" sz="2600" kern="1200" dirty="0">
                <a:hlinkClick r:id="rId14"/>
              </a:rPr>
              <a:t>Pitch</a:t>
            </a:r>
            <a:endParaRPr lang="en-US" sz="2600" kern="1200" dirty="0"/>
          </a:p>
        </p:txBody>
      </p:sp>
      <p:sp>
        <p:nvSpPr>
          <p:cNvPr id="12" name="Freeform: Shape 11">
            <a:extLst>
              <a:ext uri="{FF2B5EF4-FFF2-40B4-BE49-F238E27FC236}">
                <a16:creationId xmlns:a16="http://schemas.microsoft.com/office/drawing/2014/main" id="{A11BE549-41EB-FA83-E055-8743EEF36840}"/>
              </a:ext>
            </a:extLst>
          </p:cNvPr>
          <p:cNvSpPr/>
          <p:nvPr/>
        </p:nvSpPr>
        <p:spPr>
          <a:xfrm>
            <a:off x="64653" y="4600520"/>
            <a:ext cx="4339243" cy="1860960"/>
          </a:xfrm>
          <a:custGeom>
            <a:avLst/>
            <a:gdLst>
              <a:gd name="connsiteX0" fmla="*/ 0 w 4339243"/>
              <a:gd name="connsiteY0" fmla="*/ 310166 h 1860960"/>
              <a:gd name="connsiteX1" fmla="*/ 310166 w 4339243"/>
              <a:gd name="connsiteY1" fmla="*/ 0 h 1860960"/>
              <a:gd name="connsiteX2" fmla="*/ 4029077 w 4339243"/>
              <a:gd name="connsiteY2" fmla="*/ 0 h 1860960"/>
              <a:gd name="connsiteX3" fmla="*/ 4339243 w 4339243"/>
              <a:gd name="connsiteY3" fmla="*/ 310166 h 1860960"/>
              <a:gd name="connsiteX4" fmla="*/ 4339243 w 4339243"/>
              <a:gd name="connsiteY4" fmla="*/ 1550794 h 1860960"/>
              <a:gd name="connsiteX5" fmla="*/ 4029077 w 4339243"/>
              <a:gd name="connsiteY5" fmla="*/ 1860960 h 1860960"/>
              <a:gd name="connsiteX6" fmla="*/ 310166 w 4339243"/>
              <a:gd name="connsiteY6" fmla="*/ 1860960 h 1860960"/>
              <a:gd name="connsiteX7" fmla="*/ 0 w 4339243"/>
              <a:gd name="connsiteY7" fmla="*/ 1550794 h 1860960"/>
              <a:gd name="connsiteX8" fmla="*/ 0 w 4339243"/>
              <a:gd name="connsiteY8" fmla="*/ 310166 h 18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243" h="1860960">
                <a:moveTo>
                  <a:pt x="0" y="310166"/>
                </a:moveTo>
                <a:cubicBezTo>
                  <a:pt x="0" y="138866"/>
                  <a:pt x="138866" y="0"/>
                  <a:pt x="310166" y="0"/>
                </a:cubicBezTo>
                <a:lnTo>
                  <a:pt x="4029077" y="0"/>
                </a:lnTo>
                <a:cubicBezTo>
                  <a:pt x="4200377" y="0"/>
                  <a:pt x="4339243" y="138866"/>
                  <a:pt x="4339243" y="310166"/>
                </a:cubicBezTo>
                <a:lnTo>
                  <a:pt x="4339243" y="1550794"/>
                </a:lnTo>
                <a:cubicBezTo>
                  <a:pt x="4339243" y="1722094"/>
                  <a:pt x="4200377" y="1860960"/>
                  <a:pt x="4029077" y="1860960"/>
                </a:cubicBezTo>
                <a:lnTo>
                  <a:pt x="310166" y="1860960"/>
                </a:lnTo>
                <a:cubicBezTo>
                  <a:pt x="138866" y="1860960"/>
                  <a:pt x="0" y="1722094"/>
                  <a:pt x="0" y="1550794"/>
                </a:cubicBezTo>
                <a:lnTo>
                  <a:pt x="0" y="3101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6585" tIns="193715" rIns="296585" bIns="193715" numCol="1" spcCol="1270" anchor="ctr" anchorCtr="0">
            <a:noAutofit/>
          </a:bodyPr>
          <a:lstStyle/>
          <a:p>
            <a:pPr marL="0" lvl="0" indent="0" algn="ctr" defTabSz="2400300">
              <a:lnSpc>
                <a:spcPct val="90000"/>
              </a:lnSpc>
              <a:spcBef>
                <a:spcPct val="0"/>
              </a:spcBef>
              <a:spcAft>
                <a:spcPct val="35000"/>
              </a:spcAft>
              <a:buNone/>
            </a:pPr>
            <a:r>
              <a:rPr lang="en-US" sz="5400" kern="1200" dirty="0"/>
              <a:t>Too Different</a:t>
            </a:r>
            <a:br>
              <a:rPr lang="en-US" sz="5400" kern="1200" dirty="0"/>
            </a:br>
            <a:r>
              <a:rPr lang="en-US" sz="2800" kern="1200" dirty="0"/>
              <a:t>(PowerPoint Alternatives)</a:t>
            </a:r>
          </a:p>
        </p:txBody>
      </p:sp>
      <p:pic>
        <p:nvPicPr>
          <p:cNvPr id="37" name="Slide10">
            <a:hlinkClick r:id="" action="ppaction://media"/>
            <a:extLst>
              <a:ext uri="{FF2B5EF4-FFF2-40B4-BE49-F238E27FC236}">
                <a16:creationId xmlns:a16="http://schemas.microsoft.com/office/drawing/2014/main" id="{9741F696-6F4F-909A-CC0D-0EDBD07F5AE4}"/>
              </a:ext>
            </a:extLst>
          </p:cNvPr>
          <p:cNvPicPr>
            <a:picLocks noChangeAspect="1"/>
          </p:cNvPicPr>
          <p:nvPr>
            <a:audioFile r:link="rId3"/>
            <p:extLst>
              <p:ext uri="{DAA4B4D4-6D71-4841-9C94-3DE7FCFB9230}">
                <p14:media xmlns:p14="http://schemas.microsoft.com/office/powerpoint/2010/main" r:embed="rId2"/>
              </p:ext>
            </p:extLst>
          </p:nvPr>
        </p:nvPicPr>
        <p:blipFill>
          <a:blip r:embed="rId15"/>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2998556294"/>
      </p:ext>
    </p:extLst>
  </p:cSld>
  <p:clrMapOvr>
    <a:masterClrMapping/>
  </p:clrMapOvr>
  <mc:AlternateContent xmlns:mc="http://schemas.openxmlformats.org/markup-compatibility/2006">
    <mc:Choice xmlns:p14="http://schemas.microsoft.com/office/powerpoint/2010/main" Requires="p14">
      <p:transition spd="slow" p14:dur="2000" advTm="55271"/>
    </mc:Choice>
    <mc:Fallback>
      <p:transition spd="slow" advTm="5527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37"/>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37"/>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4" fill="hold" display="0">
                  <p:stCondLst>
                    <p:cond delay="indefinite"/>
                  </p:stCondLst>
                  <p:endCondLst>
                    <p:cond evt="onStopAudio" delay="0">
                      <p:tgtEl>
                        <p:sldTgt/>
                      </p:tgtEl>
                    </p:cond>
                  </p:endCondLst>
                </p:cTn>
                <p:tgtEl>
                  <p:spTgt spid="37"/>
                </p:tgtEl>
              </p:cMediaNode>
            </p:audio>
          </p:childTnLst>
        </p:cTn>
      </p:par>
    </p:tnLst>
    <p:bldLst>
      <p:bldP spid="7" grpId="0" animBg="1" autoUpdateAnimBg="0"/>
      <p:bldP spid="8" grpId="0" animBg="1" autoUpdateAnimBg="0"/>
      <p:bldP spid="9" grpId="0" animBg="1" autoUpdateAnimBg="0"/>
      <p:bldP spid="10" grpId="0" animBg="1" autoUpdateAnimBg="0"/>
      <p:bldP spid="11" grpId="0" animBg="1" autoUpdateAnimBg="0"/>
      <p:bldP spid="12" grpId="0" animBg="1" autoUpdateAnimBg="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tionNameTextPlaceholder">
            <a:extLst>
              <a:ext uri="{FF2B5EF4-FFF2-40B4-BE49-F238E27FC236}">
                <a16:creationId xmlns:a16="http://schemas.microsoft.com/office/drawing/2014/main" id="{41FDD1AC-FEB3-8BCC-0CE9-A18AB54F38B3}"/>
              </a:ext>
            </a:extLst>
          </p:cNvPr>
          <p:cNvSpPr>
            <a:spLocks noGrp="1"/>
          </p:cNvSpPr>
          <p:nvPr>
            <p:ph type="body" idx="1"/>
          </p:nvPr>
        </p:nvSpPr>
        <p:spPr/>
        <p:txBody>
          <a:bodyPr/>
          <a:lstStyle/>
          <a:p>
            <a:r>
              <a:rPr lang="en-US" dirty="0"/>
              <a:t>Text-to-Speech with </a:t>
            </a:r>
            <a:r>
              <a:rPr lang="en-US" dirty="0" err="1"/>
              <a:t>Steffan</a:t>
            </a:r>
            <a:r>
              <a:rPr lang="en-US" dirty="0"/>
              <a:t> - a Male Voice</a:t>
            </a:r>
          </a:p>
        </p:txBody>
      </p:sp>
      <p:sp>
        <p:nvSpPr>
          <p:cNvPr id="3" name="Title 2">
            <a:extLst>
              <a:ext uri="{FF2B5EF4-FFF2-40B4-BE49-F238E27FC236}">
                <a16:creationId xmlns:a16="http://schemas.microsoft.com/office/drawing/2014/main" id="{ADCE1F2A-27CC-BD2E-9F0A-E6E92BF66058}"/>
              </a:ext>
            </a:extLst>
          </p:cNvPr>
          <p:cNvSpPr>
            <a:spLocks noGrp="1"/>
          </p:cNvSpPr>
          <p:nvPr>
            <p:ph type="title"/>
          </p:nvPr>
        </p:nvSpPr>
        <p:spPr/>
        <p:txBody>
          <a:bodyPr/>
          <a:lstStyle/>
          <a:p>
            <a:r>
              <a:rPr lang="en-US" dirty="0"/>
              <a:t>This Website (MultimodalSlides.com)</a:t>
            </a:r>
          </a:p>
        </p:txBody>
      </p:sp>
      <p:sp>
        <p:nvSpPr>
          <p:cNvPr id="4" name="Text Placeholder 3">
            <a:extLst>
              <a:ext uri="{FF2B5EF4-FFF2-40B4-BE49-F238E27FC236}">
                <a16:creationId xmlns:a16="http://schemas.microsoft.com/office/drawing/2014/main" id="{47CBEE50-B00E-2FAA-0EDF-A98BBBDDFC29}"/>
              </a:ext>
            </a:extLst>
          </p:cNvPr>
          <p:cNvSpPr>
            <a:spLocks noGrp="1"/>
          </p:cNvSpPr>
          <p:nvPr>
            <p:ph type="body" sz="quarter" idx="3"/>
          </p:nvPr>
        </p:nvSpPr>
        <p:spPr/>
        <p:txBody>
          <a:bodyPr/>
          <a:lstStyle/>
          <a:p>
            <a:endParaRPr lang="en-US" dirty="0"/>
          </a:p>
        </p:txBody>
      </p:sp>
      <p:sp>
        <p:nvSpPr>
          <p:cNvPr id="7" name="Freeform: Shape 6">
            <a:extLst>
              <a:ext uri="{FF2B5EF4-FFF2-40B4-BE49-F238E27FC236}">
                <a16:creationId xmlns:a16="http://schemas.microsoft.com/office/drawing/2014/main" id="{877E6197-3595-8CAB-4923-08AA400CA725}"/>
              </a:ext>
            </a:extLst>
          </p:cNvPr>
          <p:cNvSpPr/>
          <p:nvPr/>
        </p:nvSpPr>
        <p:spPr>
          <a:xfrm>
            <a:off x="64653" y="703476"/>
            <a:ext cx="12053455" cy="1827357"/>
          </a:xfrm>
          <a:custGeom>
            <a:avLst/>
            <a:gdLst>
              <a:gd name="connsiteX0" fmla="*/ 0 w 12053455"/>
              <a:gd name="connsiteY0" fmla="*/ 304566 h 1827357"/>
              <a:gd name="connsiteX1" fmla="*/ 304566 w 12053455"/>
              <a:gd name="connsiteY1" fmla="*/ 0 h 1827357"/>
              <a:gd name="connsiteX2" fmla="*/ 11748889 w 12053455"/>
              <a:gd name="connsiteY2" fmla="*/ 0 h 1827357"/>
              <a:gd name="connsiteX3" fmla="*/ 12053455 w 12053455"/>
              <a:gd name="connsiteY3" fmla="*/ 304566 h 1827357"/>
              <a:gd name="connsiteX4" fmla="*/ 12053455 w 12053455"/>
              <a:gd name="connsiteY4" fmla="*/ 1522791 h 1827357"/>
              <a:gd name="connsiteX5" fmla="*/ 11748889 w 12053455"/>
              <a:gd name="connsiteY5" fmla="*/ 1827357 h 1827357"/>
              <a:gd name="connsiteX6" fmla="*/ 304566 w 12053455"/>
              <a:gd name="connsiteY6" fmla="*/ 1827357 h 1827357"/>
              <a:gd name="connsiteX7" fmla="*/ 0 w 12053455"/>
              <a:gd name="connsiteY7" fmla="*/ 1522791 h 1827357"/>
              <a:gd name="connsiteX8" fmla="*/ 0 w 12053455"/>
              <a:gd name="connsiteY8" fmla="*/ 304566 h 1827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1827357">
                <a:moveTo>
                  <a:pt x="0" y="304566"/>
                </a:moveTo>
                <a:cubicBezTo>
                  <a:pt x="0" y="136359"/>
                  <a:pt x="136359" y="0"/>
                  <a:pt x="304566" y="0"/>
                </a:cubicBezTo>
                <a:lnTo>
                  <a:pt x="11748889" y="0"/>
                </a:lnTo>
                <a:cubicBezTo>
                  <a:pt x="11917096" y="0"/>
                  <a:pt x="12053455" y="136359"/>
                  <a:pt x="12053455" y="304566"/>
                </a:cubicBezTo>
                <a:lnTo>
                  <a:pt x="12053455" y="1522791"/>
                </a:lnTo>
                <a:cubicBezTo>
                  <a:pt x="12053455" y="1690998"/>
                  <a:pt x="11917096" y="1827357"/>
                  <a:pt x="11748889" y="1827357"/>
                </a:cubicBezTo>
                <a:lnTo>
                  <a:pt x="304566" y="1827357"/>
                </a:lnTo>
                <a:cubicBezTo>
                  <a:pt x="136359" y="1827357"/>
                  <a:pt x="0" y="1690998"/>
                  <a:pt x="0" y="1522791"/>
                </a:cubicBezTo>
                <a:lnTo>
                  <a:pt x="0" y="3045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4464" tIns="264464" rIns="264464" bIns="264464" numCol="1" spcCol="1270" anchor="ctr" anchorCtr="0">
            <a:noAutofit/>
          </a:bodyPr>
          <a:lstStyle/>
          <a:p>
            <a:pPr marL="0" lvl="0" indent="0" algn="l" defTabSz="2044700">
              <a:lnSpc>
                <a:spcPct val="90000"/>
              </a:lnSpc>
              <a:spcBef>
                <a:spcPct val="0"/>
              </a:spcBef>
              <a:spcAft>
                <a:spcPct val="35000"/>
              </a:spcAft>
              <a:buNone/>
            </a:pPr>
            <a:r>
              <a:rPr lang="en-US" sz="4600" kern="1200" dirty="0"/>
              <a:t>Created in PowerPoint</a:t>
            </a:r>
          </a:p>
        </p:txBody>
      </p:sp>
      <p:sp>
        <p:nvSpPr>
          <p:cNvPr id="8" name="Freeform: Shape 7">
            <a:extLst>
              <a:ext uri="{FF2B5EF4-FFF2-40B4-BE49-F238E27FC236}">
                <a16:creationId xmlns:a16="http://schemas.microsoft.com/office/drawing/2014/main" id="{530AEEA4-ABA6-1DD9-5B18-C9F063454497}"/>
              </a:ext>
            </a:extLst>
          </p:cNvPr>
          <p:cNvSpPr/>
          <p:nvPr/>
        </p:nvSpPr>
        <p:spPr>
          <a:xfrm>
            <a:off x="64653" y="2663313"/>
            <a:ext cx="12053455" cy="1827357"/>
          </a:xfrm>
          <a:custGeom>
            <a:avLst/>
            <a:gdLst>
              <a:gd name="connsiteX0" fmla="*/ 0 w 12053455"/>
              <a:gd name="connsiteY0" fmla="*/ 304566 h 1827357"/>
              <a:gd name="connsiteX1" fmla="*/ 304566 w 12053455"/>
              <a:gd name="connsiteY1" fmla="*/ 0 h 1827357"/>
              <a:gd name="connsiteX2" fmla="*/ 11748889 w 12053455"/>
              <a:gd name="connsiteY2" fmla="*/ 0 h 1827357"/>
              <a:gd name="connsiteX3" fmla="*/ 12053455 w 12053455"/>
              <a:gd name="connsiteY3" fmla="*/ 304566 h 1827357"/>
              <a:gd name="connsiteX4" fmla="*/ 12053455 w 12053455"/>
              <a:gd name="connsiteY4" fmla="*/ 1522791 h 1827357"/>
              <a:gd name="connsiteX5" fmla="*/ 11748889 w 12053455"/>
              <a:gd name="connsiteY5" fmla="*/ 1827357 h 1827357"/>
              <a:gd name="connsiteX6" fmla="*/ 304566 w 12053455"/>
              <a:gd name="connsiteY6" fmla="*/ 1827357 h 1827357"/>
              <a:gd name="connsiteX7" fmla="*/ 0 w 12053455"/>
              <a:gd name="connsiteY7" fmla="*/ 1522791 h 1827357"/>
              <a:gd name="connsiteX8" fmla="*/ 0 w 12053455"/>
              <a:gd name="connsiteY8" fmla="*/ 304566 h 1827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1827357">
                <a:moveTo>
                  <a:pt x="0" y="304566"/>
                </a:moveTo>
                <a:cubicBezTo>
                  <a:pt x="0" y="136359"/>
                  <a:pt x="136359" y="0"/>
                  <a:pt x="304566" y="0"/>
                </a:cubicBezTo>
                <a:lnTo>
                  <a:pt x="11748889" y="0"/>
                </a:lnTo>
                <a:cubicBezTo>
                  <a:pt x="11917096" y="0"/>
                  <a:pt x="12053455" y="136359"/>
                  <a:pt x="12053455" y="304566"/>
                </a:cubicBezTo>
                <a:lnTo>
                  <a:pt x="12053455" y="1522791"/>
                </a:lnTo>
                <a:cubicBezTo>
                  <a:pt x="12053455" y="1690998"/>
                  <a:pt x="11917096" y="1827357"/>
                  <a:pt x="11748889" y="1827357"/>
                </a:cubicBezTo>
                <a:lnTo>
                  <a:pt x="304566" y="1827357"/>
                </a:lnTo>
                <a:cubicBezTo>
                  <a:pt x="136359" y="1827357"/>
                  <a:pt x="0" y="1690998"/>
                  <a:pt x="0" y="1522791"/>
                </a:cubicBezTo>
                <a:lnTo>
                  <a:pt x="0" y="3045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4464" tIns="264464" rIns="264464" bIns="264464" numCol="1" spcCol="1270" anchor="ctr" anchorCtr="0">
            <a:noAutofit/>
          </a:bodyPr>
          <a:lstStyle/>
          <a:p>
            <a:pPr marL="0" lvl="0" indent="0" algn="l" defTabSz="2044700">
              <a:lnSpc>
                <a:spcPct val="90000"/>
              </a:lnSpc>
              <a:spcBef>
                <a:spcPct val="0"/>
              </a:spcBef>
              <a:spcAft>
                <a:spcPct val="35000"/>
              </a:spcAft>
              <a:buNone/>
            </a:pPr>
            <a:r>
              <a:rPr lang="en-US" sz="4600" kern="1200" dirty="0"/>
              <a:t>Used tools for Text-to-Speech</a:t>
            </a:r>
            <a:br>
              <a:rPr lang="en-US" sz="4600" kern="1200" dirty="0"/>
            </a:br>
            <a:r>
              <a:rPr lang="en-US" sz="4600" kern="1200" dirty="0"/>
              <a:t>and Convert to Multimodal Web Page</a:t>
            </a:r>
          </a:p>
        </p:txBody>
      </p:sp>
      <p:sp>
        <p:nvSpPr>
          <p:cNvPr id="12" name="Freeform: Shape 11">
            <a:extLst>
              <a:ext uri="{FF2B5EF4-FFF2-40B4-BE49-F238E27FC236}">
                <a16:creationId xmlns:a16="http://schemas.microsoft.com/office/drawing/2014/main" id="{C86BCB06-72E0-6629-4B83-BA9C4EA7D483}"/>
              </a:ext>
            </a:extLst>
          </p:cNvPr>
          <p:cNvSpPr/>
          <p:nvPr/>
        </p:nvSpPr>
        <p:spPr>
          <a:xfrm>
            <a:off x="64653" y="4623150"/>
            <a:ext cx="12053455" cy="1827357"/>
          </a:xfrm>
          <a:custGeom>
            <a:avLst/>
            <a:gdLst>
              <a:gd name="connsiteX0" fmla="*/ 0 w 12053455"/>
              <a:gd name="connsiteY0" fmla="*/ 304566 h 1827357"/>
              <a:gd name="connsiteX1" fmla="*/ 304566 w 12053455"/>
              <a:gd name="connsiteY1" fmla="*/ 0 h 1827357"/>
              <a:gd name="connsiteX2" fmla="*/ 11748889 w 12053455"/>
              <a:gd name="connsiteY2" fmla="*/ 0 h 1827357"/>
              <a:gd name="connsiteX3" fmla="*/ 12053455 w 12053455"/>
              <a:gd name="connsiteY3" fmla="*/ 304566 h 1827357"/>
              <a:gd name="connsiteX4" fmla="*/ 12053455 w 12053455"/>
              <a:gd name="connsiteY4" fmla="*/ 1522791 h 1827357"/>
              <a:gd name="connsiteX5" fmla="*/ 11748889 w 12053455"/>
              <a:gd name="connsiteY5" fmla="*/ 1827357 h 1827357"/>
              <a:gd name="connsiteX6" fmla="*/ 304566 w 12053455"/>
              <a:gd name="connsiteY6" fmla="*/ 1827357 h 1827357"/>
              <a:gd name="connsiteX7" fmla="*/ 0 w 12053455"/>
              <a:gd name="connsiteY7" fmla="*/ 1522791 h 1827357"/>
              <a:gd name="connsiteX8" fmla="*/ 0 w 12053455"/>
              <a:gd name="connsiteY8" fmla="*/ 304566 h 1827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1827357">
                <a:moveTo>
                  <a:pt x="0" y="304566"/>
                </a:moveTo>
                <a:cubicBezTo>
                  <a:pt x="0" y="136359"/>
                  <a:pt x="136359" y="0"/>
                  <a:pt x="304566" y="0"/>
                </a:cubicBezTo>
                <a:lnTo>
                  <a:pt x="11748889" y="0"/>
                </a:lnTo>
                <a:cubicBezTo>
                  <a:pt x="11917096" y="0"/>
                  <a:pt x="12053455" y="136359"/>
                  <a:pt x="12053455" y="304566"/>
                </a:cubicBezTo>
                <a:lnTo>
                  <a:pt x="12053455" y="1522791"/>
                </a:lnTo>
                <a:cubicBezTo>
                  <a:pt x="12053455" y="1690998"/>
                  <a:pt x="11917096" y="1827357"/>
                  <a:pt x="11748889" y="1827357"/>
                </a:cubicBezTo>
                <a:lnTo>
                  <a:pt x="304566" y="1827357"/>
                </a:lnTo>
                <a:cubicBezTo>
                  <a:pt x="136359" y="1827357"/>
                  <a:pt x="0" y="1690998"/>
                  <a:pt x="0" y="1522791"/>
                </a:cubicBezTo>
                <a:lnTo>
                  <a:pt x="0" y="3045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4464" tIns="264464" rIns="264464" bIns="264464" numCol="1" spcCol="1270" anchor="ctr" anchorCtr="0">
            <a:noAutofit/>
          </a:bodyPr>
          <a:lstStyle/>
          <a:p>
            <a:pPr marL="0" lvl="0" indent="0" algn="l" defTabSz="2044700">
              <a:lnSpc>
                <a:spcPct val="90000"/>
              </a:lnSpc>
              <a:spcBef>
                <a:spcPct val="0"/>
              </a:spcBef>
              <a:spcAft>
                <a:spcPct val="35000"/>
              </a:spcAft>
              <a:buNone/>
            </a:pPr>
            <a:r>
              <a:rPr lang="en-US" sz="4600" kern="1200" dirty="0"/>
              <a:t>Hosted on </a:t>
            </a:r>
            <a:r>
              <a:rPr lang="en-US" sz="4600" kern="1200" dirty="0">
                <a:hlinkClick r:id="rId6"/>
              </a:rPr>
              <a:t>GitHub Pages</a:t>
            </a:r>
            <a:endParaRPr lang="en-US" sz="4600" kern="1200" dirty="0"/>
          </a:p>
        </p:txBody>
      </p:sp>
      <p:pic>
        <p:nvPicPr>
          <p:cNvPr id="9" name="Picture 4" descr="GIT HUB PAGES: PROCEDURE TO CREATE PAGES ON GITHUB">
            <a:hlinkClick r:id="rId6"/>
            <a:extLst>
              <a:ext uri="{FF2B5EF4-FFF2-40B4-BE49-F238E27FC236}">
                <a16:creationId xmlns:a16="http://schemas.microsoft.com/office/drawing/2014/main" id="{A089F442-3BBF-85A0-2DA3-C0EDAB5FAA8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7988" t="18881" r="29690" b="23508"/>
          <a:stretch/>
        </p:blipFill>
        <p:spPr bwMode="auto">
          <a:xfrm>
            <a:off x="10298931" y="4881716"/>
            <a:ext cx="1654951" cy="1126390"/>
          </a:xfrm>
          <a:prstGeom prst="rect">
            <a:avLst/>
          </a:prstGeom>
          <a:noFill/>
          <a:extLst>
            <a:ext uri="{909E8E84-426E-40DD-AFC4-6F175D3DCCD1}">
              <a14:hiddenFill xmlns:a14="http://schemas.microsoft.com/office/drawing/2010/main">
                <a:solidFill>
                  <a:srgbClr val="FFFFFF"/>
                </a:solidFill>
              </a14:hiddenFill>
            </a:ext>
          </a:extLst>
        </p:spPr>
      </p:pic>
      <p:pic>
        <p:nvPicPr>
          <p:cNvPr id="10" name="Content Placeholder 17" descr="A close up of a sign&#10;&#10;Description automatically generated">
            <a:extLst>
              <a:ext uri="{FF2B5EF4-FFF2-40B4-BE49-F238E27FC236}">
                <a16:creationId xmlns:a16="http://schemas.microsoft.com/office/drawing/2014/main" id="{67B7FBF1-2A07-8DA6-480F-CD72D407F8F4}"/>
              </a:ext>
            </a:extLst>
          </p:cNvPr>
          <p:cNvPicPr>
            <a:picLocks noChangeAspect="1"/>
          </p:cNvPicPr>
          <p:nvPr/>
        </p:nvPicPr>
        <p:blipFill>
          <a:blip r:embed="rId8"/>
          <a:stretch>
            <a:fillRect/>
          </a:stretch>
        </p:blipFill>
        <p:spPr>
          <a:xfrm>
            <a:off x="9330612" y="3052655"/>
            <a:ext cx="2787496" cy="1236952"/>
          </a:xfrm>
          <a:prstGeom prst="rect">
            <a:avLst/>
          </a:prstGeom>
        </p:spPr>
      </p:pic>
      <p:pic>
        <p:nvPicPr>
          <p:cNvPr id="11" name="Picture 2" descr="Designing and Delivering PowerPoint Presentations - Center for Teaching  Excellence | University of South Carolina">
            <a:extLst>
              <a:ext uri="{FF2B5EF4-FFF2-40B4-BE49-F238E27FC236}">
                <a16:creationId xmlns:a16="http://schemas.microsoft.com/office/drawing/2014/main" id="{A7A61812-730B-28B6-FF29-41263DA5AFE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30612" y="997622"/>
            <a:ext cx="2623270" cy="1112903"/>
          </a:xfrm>
          <a:prstGeom prst="rect">
            <a:avLst/>
          </a:prstGeom>
          <a:noFill/>
          <a:extLst>
            <a:ext uri="{909E8E84-426E-40DD-AFC4-6F175D3DCCD1}">
              <a14:hiddenFill xmlns:a14="http://schemas.microsoft.com/office/drawing/2010/main">
                <a:solidFill>
                  <a:srgbClr val="FFFFFF"/>
                </a:solidFill>
              </a14:hiddenFill>
            </a:ext>
          </a:extLst>
        </p:spPr>
      </p:pic>
      <p:pic>
        <p:nvPicPr>
          <p:cNvPr id="13" name="Slide11">
            <a:hlinkClick r:id="" action="ppaction://media"/>
            <a:extLst>
              <a:ext uri="{FF2B5EF4-FFF2-40B4-BE49-F238E27FC236}">
                <a16:creationId xmlns:a16="http://schemas.microsoft.com/office/drawing/2014/main" id="{4197DA81-4A76-92F0-87E5-7CE6B6486156}"/>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2886236356"/>
      </p:ext>
    </p:extLst>
  </p:cSld>
  <p:clrMapOvr>
    <a:masterClrMapping/>
  </p:clrMapOvr>
  <mc:AlternateContent xmlns:mc="http://schemas.openxmlformats.org/markup-compatibility/2006">
    <mc:Choice xmlns:p14="http://schemas.microsoft.com/office/powerpoint/2010/main" Requires="p14">
      <p:transition spd="slow" p14:dur="2000" advTm="21215"/>
    </mc:Choice>
    <mc:Fallback>
      <p:transition spd="slow" advTm="2121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13"/>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13"/>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4" fill="hold" display="0">
                  <p:stCondLst>
                    <p:cond delay="indefinite"/>
                  </p:stCondLst>
                  <p:endCondLst>
                    <p:cond evt="onStopAudio" delay="0">
                      <p:tgtEl>
                        <p:sldTgt/>
                      </p:tgtEl>
                    </p:cond>
                  </p:endCondLst>
                </p:cTn>
                <p:tgtEl>
                  <p:spTgt spid="13"/>
                </p:tgtEl>
              </p:cMediaNode>
            </p:audio>
          </p:childTnLst>
        </p:cTn>
      </p:par>
    </p:tnLst>
    <p:bldLst>
      <p:bldP spid="7" grpId="0" animBg="1" autoUpdateAnimBg="0"/>
      <p:bldP spid="8" grpId="0" animBg="1" autoUpdateAnimBg="0"/>
      <p:bldP spid="12" grpId="0" animBg="1" autoUpdateAnimBg="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ectionNameTextPlaceholder">
            <a:extLst>
              <a:ext uri="{FF2B5EF4-FFF2-40B4-BE49-F238E27FC236}">
                <a16:creationId xmlns:a16="http://schemas.microsoft.com/office/drawing/2014/main" id="{28768A5A-4BF6-5BE3-6E77-2A0A0CCE4030}"/>
              </a:ext>
            </a:extLst>
          </p:cNvPr>
          <p:cNvSpPr>
            <a:spLocks noGrp="1"/>
          </p:cNvSpPr>
          <p:nvPr>
            <p:ph type="body" idx="1"/>
          </p:nvPr>
        </p:nvSpPr>
        <p:spPr/>
        <p:txBody>
          <a:bodyPr/>
          <a:lstStyle/>
          <a:p>
            <a:r>
              <a:rPr lang="en-US" dirty="0"/>
              <a:t>Text-to-Speech with Ana - a Female Voice</a:t>
            </a:r>
          </a:p>
        </p:txBody>
      </p:sp>
      <p:sp>
        <p:nvSpPr>
          <p:cNvPr id="11" name="Title 10">
            <a:extLst>
              <a:ext uri="{FF2B5EF4-FFF2-40B4-BE49-F238E27FC236}">
                <a16:creationId xmlns:a16="http://schemas.microsoft.com/office/drawing/2014/main" id="{935FF936-7BE9-38CB-E3E5-5746096F5253}"/>
              </a:ext>
            </a:extLst>
          </p:cNvPr>
          <p:cNvSpPr>
            <a:spLocks noGrp="1"/>
          </p:cNvSpPr>
          <p:nvPr>
            <p:ph type="title"/>
          </p:nvPr>
        </p:nvSpPr>
        <p:spPr/>
        <p:txBody>
          <a:bodyPr/>
          <a:lstStyle/>
          <a:p>
            <a:r>
              <a:rPr lang="en-US" dirty="0"/>
              <a:t>Nothing else out there provides this Multimodal Experience!</a:t>
            </a:r>
          </a:p>
        </p:txBody>
      </p:sp>
      <p:sp>
        <p:nvSpPr>
          <p:cNvPr id="14" name="Text Placeholder 13">
            <a:extLst>
              <a:ext uri="{FF2B5EF4-FFF2-40B4-BE49-F238E27FC236}">
                <a16:creationId xmlns:a16="http://schemas.microsoft.com/office/drawing/2014/main" id="{9ECC7011-F5E5-CA09-F33D-9141B0D20B5D}"/>
              </a:ext>
            </a:extLst>
          </p:cNvPr>
          <p:cNvSpPr>
            <a:spLocks noGrp="1"/>
          </p:cNvSpPr>
          <p:nvPr>
            <p:ph type="body" sz="quarter" idx="3"/>
          </p:nvPr>
        </p:nvSpPr>
        <p:spPr/>
        <p:txBody>
          <a:bodyPr/>
          <a:lstStyle/>
          <a:p>
            <a:endParaRPr lang="en-US" dirty="0"/>
          </a:p>
        </p:txBody>
      </p:sp>
      <p:sp>
        <p:nvSpPr>
          <p:cNvPr id="6" name="Arrow: Right 5">
            <a:extLst>
              <a:ext uri="{FF2B5EF4-FFF2-40B4-BE49-F238E27FC236}">
                <a16:creationId xmlns:a16="http://schemas.microsoft.com/office/drawing/2014/main" id="{3BFE4BDE-5DFE-2CFF-DDF8-26EACDD3A756}"/>
              </a:ext>
            </a:extLst>
          </p:cNvPr>
          <p:cNvSpPr/>
          <p:nvPr/>
        </p:nvSpPr>
        <p:spPr>
          <a:xfrm>
            <a:off x="968662" y="689684"/>
            <a:ext cx="10245436" cy="5774616"/>
          </a:xfrm>
          <a:prstGeom prst="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 name="Freeform: Shape 6">
            <a:extLst>
              <a:ext uri="{FF2B5EF4-FFF2-40B4-BE49-F238E27FC236}">
                <a16:creationId xmlns:a16="http://schemas.microsoft.com/office/drawing/2014/main" id="{A4303706-8529-FF30-EA8A-6EA064C78ECE}"/>
              </a:ext>
            </a:extLst>
          </p:cNvPr>
          <p:cNvSpPr/>
          <p:nvPr/>
        </p:nvSpPr>
        <p:spPr>
          <a:xfrm>
            <a:off x="77601" y="2422068"/>
            <a:ext cx="3879705" cy="2309846"/>
          </a:xfrm>
          <a:custGeom>
            <a:avLst/>
            <a:gdLst>
              <a:gd name="connsiteX0" fmla="*/ 0 w 3879705"/>
              <a:gd name="connsiteY0" fmla="*/ 384982 h 2309846"/>
              <a:gd name="connsiteX1" fmla="*/ 384982 w 3879705"/>
              <a:gd name="connsiteY1" fmla="*/ 0 h 2309846"/>
              <a:gd name="connsiteX2" fmla="*/ 3494723 w 3879705"/>
              <a:gd name="connsiteY2" fmla="*/ 0 h 2309846"/>
              <a:gd name="connsiteX3" fmla="*/ 3879705 w 3879705"/>
              <a:gd name="connsiteY3" fmla="*/ 384982 h 2309846"/>
              <a:gd name="connsiteX4" fmla="*/ 3879705 w 3879705"/>
              <a:gd name="connsiteY4" fmla="*/ 1924864 h 2309846"/>
              <a:gd name="connsiteX5" fmla="*/ 3494723 w 3879705"/>
              <a:gd name="connsiteY5" fmla="*/ 2309846 h 2309846"/>
              <a:gd name="connsiteX6" fmla="*/ 384982 w 3879705"/>
              <a:gd name="connsiteY6" fmla="*/ 2309846 h 2309846"/>
              <a:gd name="connsiteX7" fmla="*/ 0 w 3879705"/>
              <a:gd name="connsiteY7" fmla="*/ 1924864 h 2309846"/>
              <a:gd name="connsiteX8" fmla="*/ 0 w 3879705"/>
              <a:gd name="connsiteY8" fmla="*/ 384982 h 230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9705" h="2309846">
                <a:moveTo>
                  <a:pt x="0" y="384982"/>
                </a:moveTo>
                <a:cubicBezTo>
                  <a:pt x="0" y="172362"/>
                  <a:pt x="172362" y="0"/>
                  <a:pt x="384982" y="0"/>
                </a:cubicBezTo>
                <a:lnTo>
                  <a:pt x="3494723" y="0"/>
                </a:lnTo>
                <a:cubicBezTo>
                  <a:pt x="3707343" y="0"/>
                  <a:pt x="3879705" y="172362"/>
                  <a:pt x="3879705" y="384982"/>
                </a:cubicBezTo>
                <a:lnTo>
                  <a:pt x="3879705" y="1924864"/>
                </a:lnTo>
                <a:cubicBezTo>
                  <a:pt x="3879705" y="2137484"/>
                  <a:pt x="3707343" y="2309846"/>
                  <a:pt x="3494723" y="2309846"/>
                </a:cubicBezTo>
                <a:lnTo>
                  <a:pt x="384982" y="2309846"/>
                </a:lnTo>
                <a:cubicBezTo>
                  <a:pt x="172362" y="2309846"/>
                  <a:pt x="0" y="2137484"/>
                  <a:pt x="0" y="1924864"/>
                </a:cubicBezTo>
                <a:lnTo>
                  <a:pt x="0" y="38498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1347" tIns="261347" rIns="261347" bIns="261347" numCol="1" spcCol="1270" anchor="ctr" anchorCtr="0">
            <a:noAutofit/>
          </a:bodyPr>
          <a:lstStyle/>
          <a:p>
            <a:pPr marL="0" lvl="0" indent="0" algn="ctr" defTabSz="1733550">
              <a:lnSpc>
                <a:spcPct val="90000"/>
              </a:lnSpc>
              <a:spcBef>
                <a:spcPct val="0"/>
              </a:spcBef>
              <a:spcAft>
                <a:spcPct val="35000"/>
              </a:spcAft>
              <a:buNone/>
            </a:pPr>
            <a:r>
              <a:rPr lang="en-US" sz="3900" kern="1200"/>
              <a:t>Just use PowerPoint with NO Add-ins</a:t>
            </a:r>
          </a:p>
        </p:txBody>
      </p:sp>
      <p:sp>
        <p:nvSpPr>
          <p:cNvPr id="8" name="Freeform: Shape 7">
            <a:extLst>
              <a:ext uri="{FF2B5EF4-FFF2-40B4-BE49-F238E27FC236}">
                <a16:creationId xmlns:a16="http://schemas.microsoft.com/office/drawing/2014/main" id="{8EF1C6EB-E862-3381-EC0C-DD33C954C686}"/>
              </a:ext>
            </a:extLst>
          </p:cNvPr>
          <p:cNvSpPr/>
          <p:nvPr/>
        </p:nvSpPr>
        <p:spPr>
          <a:xfrm>
            <a:off x="4151527" y="2422068"/>
            <a:ext cx="3879705" cy="2309846"/>
          </a:xfrm>
          <a:custGeom>
            <a:avLst/>
            <a:gdLst>
              <a:gd name="connsiteX0" fmla="*/ 0 w 3879705"/>
              <a:gd name="connsiteY0" fmla="*/ 384982 h 2309846"/>
              <a:gd name="connsiteX1" fmla="*/ 384982 w 3879705"/>
              <a:gd name="connsiteY1" fmla="*/ 0 h 2309846"/>
              <a:gd name="connsiteX2" fmla="*/ 3494723 w 3879705"/>
              <a:gd name="connsiteY2" fmla="*/ 0 h 2309846"/>
              <a:gd name="connsiteX3" fmla="*/ 3879705 w 3879705"/>
              <a:gd name="connsiteY3" fmla="*/ 384982 h 2309846"/>
              <a:gd name="connsiteX4" fmla="*/ 3879705 w 3879705"/>
              <a:gd name="connsiteY4" fmla="*/ 1924864 h 2309846"/>
              <a:gd name="connsiteX5" fmla="*/ 3494723 w 3879705"/>
              <a:gd name="connsiteY5" fmla="*/ 2309846 h 2309846"/>
              <a:gd name="connsiteX6" fmla="*/ 384982 w 3879705"/>
              <a:gd name="connsiteY6" fmla="*/ 2309846 h 2309846"/>
              <a:gd name="connsiteX7" fmla="*/ 0 w 3879705"/>
              <a:gd name="connsiteY7" fmla="*/ 1924864 h 2309846"/>
              <a:gd name="connsiteX8" fmla="*/ 0 w 3879705"/>
              <a:gd name="connsiteY8" fmla="*/ 384982 h 230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9705" h="2309846">
                <a:moveTo>
                  <a:pt x="0" y="384982"/>
                </a:moveTo>
                <a:cubicBezTo>
                  <a:pt x="0" y="172362"/>
                  <a:pt x="172362" y="0"/>
                  <a:pt x="384982" y="0"/>
                </a:cubicBezTo>
                <a:lnTo>
                  <a:pt x="3494723" y="0"/>
                </a:lnTo>
                <a:cubicBezTo>
                  <a:pt x="3707343" y="0"/>
                  <a:pt x="3879705" y="172362"/>
                  <a:pt x="3879705" y="384982"/>
                </a:cubicBezTo>
                <a:lnTo>
                  <a:pt x="3879705" y="1924864"/>
                </a:lnTo>
                <a:cubicBezTo>
                  <a:pt x="3879705" y="2137484"/>
                  <a:pt x="3707343" y="2309846"/>
                  <a:pt x="3494723" y="2309846"/>
                </a:cubicBezTo>
                <a:lnTo>
                  <a:pt x="384982" y="2309846"/>
                </a:lnTo>
                <a:cubicBezTo>
                  <a:pt x="172362" y="2309846"/>
                  <a:pt x="0" y="2137484"/>
                  <a:pt x="0" y="1924864"/>
                </a:cubicBezTo>
                <a:lnTo>
                  <a:pt x="0" y="38498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1347" tIns="261347" rIns="261347" bIns="261347" numCol="1" spcCol="1270" anchor="ctr" anchorCtr="0">
            <a:noAutofit/>
          </a:bodyPr>
          <a:lstStyle/>
          <a:p>
            <a:pPr marL="0" lvl="0" indent="0" algn="ctr" defTabSz="1733550">
              <a:lnSpc>
                <a:spcPct val="90000"/>
              </a:lnSpc>
              <a:spcBef>
                <a:spcPct val="0"/>
              </a:spcBef>
              <a:spcAft>
                <a:spcPct val="35000"/>
              </a:spcAft>
              <a:buNone/>
            </a:pPr>
            <a:r>
              <a:rPr lang="en-US" sz="3900" kern="1200" dirty="0"/>
              <a:t>Best converted Slides to</a:t>
            </a:r>
            <a:br>
              <a:rPr lang="en-US" sz="3900" kern="1200" dirty="0"/>
            </a:br>
            <a:r>
              <a:rPr lang="en-US" sz="3900" kern="1200" dirty="0"/>
              <a:t>SVG images</a:t>
            </a:r>
          </a:p>
        </p:txBody>
      </p:sp>
      <p:sp>
        <p:nvSpPr>
          <p:cNvPr id="9" name="Freeform: Shape 8">
            <a:extLst>
              <a:ext uri="{FF2B5EF4-FFF2-40B4-BE49-F238E27FC236}">
                <a16:creationId xmlns:a16="http://schemas.microsoft.com/office/drawing/2014/main" id="{9D7F5472-8051-E455-4ACC-3B7BB1907BE5}"/>
              </a:ext>
            </a:extLst>
          </p:cNvPr>
          <p:cNvSpPr/>
          <p:nvPr/>
        </p:nvSpPr>
        <p:spPr>
          <a:xfrm>
            <a:off x="8225454" y="2422068"/>
            <a:ext cx="3879705" cy="2309846"/>
          </a:xfrm>
          <a:custGeom>
            <a:avLst/>
            <a:gdLst>
              <a:gd name="connsiteX0" fmla="*/ 0 w 3879705"/>
              <a:gd name="connsiteY0" fmla="*/ 384982 h 2309846"/>
              <a:gd name="connsiteX1" fmla="*/ 384982 w 3879705"/>
              <a:gd name="connsiteY1" fmla="*/ 0 h 2309846"/>
              <a:gd name="connsiteX2" fmla="*/ 3494723 w 3879705"/>
              <a:gd name="connsiteY2" fmla="*/ 0 h 2309846"/>
              <a:gd name="connsiteX3" fmla="*/ 3879705 w 3879705"/>
              <a:gd name="connsiteY3" fmla="*/ 384982 h 2309846"/>
              <a:gd name="connsiteX4" fmla="*/ 3879705 w 3879705"/>
              <a:gd name="connsiteY4" fmla="*/ 1924864 h 2309846"/>
              <a:gd name="connsiteX5" fmla="*/ 3494723 w 3879705"/>
              <a:gd name="connsiteY5" fmla="*/ 2309846 h 2309846"/>
              <a:gd name="connsiteX6" fmla="*/ 384982 w 3879705"/>
              <a:gd name="connsiteY6" fmla="*/ 2309846 h 2309846"/>
              <a:gd name="connsiteX7" fmla="*/ 0 w 3879705"/>
              <a:gd name="connsiteY7" fmla="*/ 1924864 h 2309846"/>
              <a:gd name="connsiteX8" fmla="*/ 0 w 3879705"/>
              <a:gd name="connsiteY8" fmla="*/ 384982 h 230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9705" h="2309846">
                <a:moveTo>
                  <a:pt x="0" y="384982"/>
                </a:moveTo>
                <a:cubicBezTo>
                  <a:pt x="0" y="172362"/>
                  <a:pt x="172362" y="0"/>
                  <a:pt x="384982" y="0"/>
                </a:cubicBezTo>
                <a:lnTo>
                  <a:pt x="3494723" y="0"/>
                </a:lnTo>
                <a:cubicBezTo>
                  <a:pt x="3707343" y="0"/>
                  <a:pt x="3879705" y="172362"/>
                  <a:pt x="3879705" y="384982"/>
                </a:cubicBezTo>
                <a:lnTo>
                  <a:pt x="3879705" y="1924864"/>
                </a:lnTo>
                <a:cubicBezTo>
                  <a:pt x="3879705" y="2137484"/>
                  <a:pt x="3707343" y="2309846"/>
                  <a:pt x="3494723" y="2309846"/>
                </a:cubicBezTo>
                <a:lnTo>
                  <a:pt x="384982" y="2309846"/>
                </a:lnTo>
                <a:cubicBezTo>
                  <a:pt x="172362" y="2309846"/>
                  <a:pt x="0" y="2137484"/>
                  <a:pt x="0" y="1924864"/>
                </a:cubicBezTo>
                <a:lnTo>
                  <a:pt x="0" y="38498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1347" tIns="261347" rIns="261347" bIns="261347" numCol="1" spcCol="1270" anchor="ctr" anchorCtr="0">
            <a:noAutofit/>
          </a:bodyPr>
          <a:lstStyle/>
          <a:p>
            <a:pPr marL="0" lvl="0" indent="0" algn="ctr" defTabSz="1733550">
              <a:lnSpc>
                <a:spcPct val="90000"/>
              </a:lnSpc>
              <a:spcBef>
                <a:spcPct val="0"/>
              </a:spcBef>
              <a:spcAft>
                <a:spcPct val="35000"/>
              </a:spcAft>
              <a:buNone/>
            </a:pPr>
            <a:r>
              <a:rPr lang="en-US" sz="3900" kern="1200"/>
              <a:t>You own and store your data!</a:t>
            </a:r>
          </a:p>
        </p:txBody>
      </p:sp>
      <p:pic>
        <p:nvPicPr>
          <p:cNvPr id="2" name="Content Placeholder 17" descr="A close up of a sign&#10;&#10;Description automatically generated">
            <a:extLst>
              <a:ext uri="{FF2B5EF4-FFF2-40B4-BE49-F238E27FC236}">
                <a16:creationId xmlns:a16="http://schemas.microsoft.com/office/drawing/2014/main" id="{665D7A7F-3F90-09AE-49D1-B146FB5DC6F9}"/>
              </a:ext>
            </a:extLst>
          </p:cNvPr>
          <p:cNvPicPr>
            <a:picLocks noChangeAspect="1"/>
          </p:cNvPicPr>
          <p:nvPr/>
        </p:nvPicPr>
        <p:blipFill>
          <a:blip r:embed="rId6"/>
          <a:stretch>
            <a:fillRect/>
          </a:stretch>
        </p:blipFill>
        <p:spPr>
          <a:xfrm>
            <a:off x="10205381" y="-24880"/>
            <a:ext cx="1996606" cy="885994"/>
          </a:xfrm>
          <a:prstGeom prst="rect">
            <a:avLst/>
          </a:prstGeom>
        </p:spPr>
      </p:pic>
      <p:pic>
        <p:nvPicPr>
          <p:cNvPr id="5" name="Slide12">
            <a:hlinkClick r:id="" action="ppaction://media"/>
            <a:extLst>
              <a:ext uri="{FF2B5EF4-FFF2-40B4-BE49-F238E27FC236}">
                <a16:creationId xmlns:a16="http://schemas.microsoft.com/office/drawing/2014/main" id="{554FA56D-6D4B-950A-6E11-7CD8E75A3BF9}"/>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3763520485"/>
      </p:ext>
    </p:extLst>
  </p:cSld>
  <p:clrMapOvr>
    <a:masterClrMapping/>
  </p:clrMapOvr>
  <mc:AlternateContent xmlns:mc="http://schemas.openxmlformats.org/markup-compatibility/2006">
    <mc:Choice xmlns:p14="http://schemas.microsoft.com/office/powerpoint/2010/main" Requires="p14">
      <p:transition spd="slow" p14:dur="2000" advTm="22511"/>
    </mc:Choice>
    <mc:Fallback>
      <p:transition spd="slow" advTm="2251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5"/>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5"/>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5" fill="hold" display="0">
                  <p:stCondLst>
                    <p:cond delay="indefinite"/>
                  </p:stCondLst>
                  <p:endCondLst>
                    <p:cond evt="onStopAudio" delay="0">
                      <p:tgtEl>
                        <p:sldTgt/>
                      </p:tgtEl>
                    </p:cond>
                  </p:endCondLst>
                </p:cTn>
                <p:tgtEl>
                  <p:spTgt spid="5"/>
                </p:tgtEl>
              </p:cMediaNode>
            </p:audio>
          </p:childTnLst>
        </p:cTn>
      </p:par>
    </p:tnLst>
    <p:bldLst>
      <p:bldP spid="7" grpId="0" animBg="1" autoUpdateAnimBg="0"/>
      <p:bldP spid="8" grpId="0" animBg="1" autoUpdateAnimBg="0"/>
      <p:bldP spid="9" grpId="0" animBg="1"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8103473A-5E92-DBC6-AB1C-0FEBC2593068}"/>
              </a:ext>
            </a:extLst>
          </p:cNvPr>
          <p:cNvSpPr/>
          <p:nvPr/>
        </p:nvSpPr>
        <p:spPr>
          <a:xfrm>
            <a:off x="724722" y="2431655"/>
            <a:ext cx="3449686" cy="32458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800" dirty="0"/>
              <a:t>Presentation Mode</a:t>
            </a:r>
          </a:p>
        </p:txBody>
      </p:sp>
      <p:sp>
        <p:nvSpPr>
          <p:cNvPr id="19" name="Rectangle: Rounded Corners 18">
            <a:extLst>
              <a:ext uri="{FF2B5EF4-FFF2-40B4-BE49-F238E27FC236}">
                <a16:creationId xmlns:a16="http://schemas.microsoft.com/office/drawing/2014/main" id="{6844A074-EB13-BF0A-230C-1AF45E53E1EF}"/>
              </a:ext>
            </a:extLst>
          </p:cNvPr>
          <p:cNvSpPr/>
          <p:nvPr/>
        </p:nvSpPr>
        <p:spPr>
          <a:xfrm>
            <a:off x="4371157" y="2431656"/>
            <a:ext cx="3449686" cy="425790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800" dirty="0"/>
              <a:t>Reading Mode</a:t>
            </a:r>
          </a:p>
        </p:txBody>
      </p:sp>
      <p:sp>
        <p:nvSpPr>
          <p:cNvPr id="20" name="Rectangle: Rounded Corners 19">
            <a:extLst>
              <a:ext uri="{FF2B5EF4-FFF2-40B4-BE49-F238E27FC236}">
                <a16:creationId xmlns:a16="http://schemas.microsoft.com/office/drawing/2014/main" id="{DB52CBA1-2CC5-91BD-A080-ABABEE047DA3}"/>
              </a:ext>
            </a:extLst>
          </p:cNvPr>
          <p:cNvSpPr/>
          <p:nvPr/>
        </p:nvSpPr>
        <p:spPr>
          <a:xfrm>
            <a:off x="8017592" y="2431655"/>
            <a:ext cx="3449686" cy="425790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800" dirty="0"/>
              <a:t>Video Player Mode</a:t>
            </a:r>
          </a:p>
        </p:txBody>
      </p:sp>
      <p:sp>
        <p:nvSpPr>
          <p:cNvPr id="2" name="SectionNameTextPlaceholder">
            <a:extLst>
              <a:ext uri="{FF2B5EF4-FFF2-40B4-BE49-F238E27FC236}">
                <a16:creationId xmlns:a16="http://schemas.microsoft.com/office/drawing/2014/main" id="{2BF01355-7466-C3CF-B77D-1E563855B9B0}"/>
              </a:ext>
            </a:extLst>
          </p:cNvPr>
          <p:cNvSpPr>
            <a:spLocks noGrp="1"/>
          </p:cNvSpPr>
          <p:nvPr>
            <p:ph type="body" idx="1"/>
          </p:nvPr>
        </p:nvSpPr>
        <p:spPr>
          <a:xfrm>
            <a:off x="6" y="6536608"/>
            <a:ext cx="4128655" cy="313241"/>
          </a:xfrm>
        </p:spPr>
        <p:txBody>
          <a:bodyPr>
            <a:normAutofit/>
          </a:bodyPr>
          <a:lstStyle/>
          <a:p>
            <a:r>
              <a:rPr lang="en-US" dirty="0"/>
              <a:t>Text-to-Speech with Sara - a Female Voice</a:t>
            </a:r>
          </a:p>
        </p:txBody>
      </p:sp>
      <p:sp>
        <p:nvSpPr>
          <p:cNvPr id="3" name="Title 2">
            <a:extLst>
              <a:ext uri="{FF2B5EF4-FFF2-40B4-BE49-F238E27FC236}">
                <a16:creationId xmlns:a16="http://schemas.microsoft.com/office/drawing/2014/main" id="{409D1AB0-05FA-8A43-6BB9-A9C76997191A}"/>
              </a:ext>
            </a:extLst>
          </p:cNvPr>
          <p:cNvSpPr>
            <a:spLocks noGrp="1"/>
          </p:cNvSpPr>
          <p:nvPr>
            <p:ph type="title"/>
          </p:nvPr>
        </p:nvSpPr>
        <p:spPr>
          <a:xfrm>
            <a:off x="0" y="0"/>
            <a:ext cx="12192000" cy="642796"/>
          </a:xfrm>
        </p:spPr>
        <p:txBody>
          <a:bodyPr/>
          <a:lstStyle/>
          <a:p>
            <a:r>
              <a:rPr lang="en-US" dirty="0"/>
              <a:t>Roadmap</a:t>
            </a:r>
          </a:p>
        </p:txBody>
      </p:sp>
      <p:sp>
        <p:nvSpPr>
          <p:cNvPr id="17" name="Text Placeholder 16">
            <a:extLst>
              <a:ext uri="{FF2B5EF4-FFF2-40B4-BE49-F238E27FC236}">
                <a16:creationId xmlns:a16="http://schemas.microsoft.com/office/drawing/2014/main" id="{C780505F-8D93-04E3-CFAC-92E4B852C7EF}"/>
              </a:ext>
            </a:extLst>
          </p:cNvPr>
          <p:cNvSpPr>
            <a:spLocks noGrp="1"/>
          </p:cNvSpPr>
          <p:nvPr>
            <p:ph type="body" sz="quarter" idx="3"/>
          </p:nvPr>
        </p:nvSpPr>
        <p:spPr/>
        <p:txBody>
          <a:bodyPr/>
          <a:lstStyle/>
          <a:p>
            <a:endParaRPr lang="en-US"/>
          </a:p>
        </p:txBody>
      </p:sp>
      <p:sp>
        <p:nvSpPr>
          <p:cNvPr id="44" name="Freeform: Shape 43">
            <a:extLst>
              <a:ext uri="{FF2B5EF4-FFF2-40B4-BE49-F238E27FC236}">
                <a16:creationId xmlns:a16="http://schemas.microsoft.com/office/drawing/2014/main" id="{7EB5D8C9-819F-C621-3C39-B419E97E0057}"/>
              </a:ext>
            </a:extLst>
          </p:cNvPr>
          <p:cNvSpPr/>
          <p:nvPr/>
        </p:nvSpPr>
        <p:spPr>
          <a:xfrm>
            <a:off x="228600" y="695897"/>
            <a:ext cx="5165822" cy="503685"/>
          </a:xfrm>
          <a:custGeom>
            <a:avLst/>
            <a:gdLst>
              <a:gd name="connsiteX0" fmla="*/ 0 w 12053455"/>
              <a:gd name="connsiteY0" fmla="*/ 83949 h 503685"/>
              <a:gd name="connsiteX1" fmla="*/ 83949 w 12053455"/>
              <a:gd name="connsiteY1" fmla="*/ 0 h 503685"/>
              <a:gd name="connsiteX2" fmla="*/ 11969506 w 12053455"/>
              <a:gd name="connsiteY2" fmla="*/ 0 h 503685"/>
              <a:gd name="connsiteX3" fmla="*/ 12053455 w 12053455"/>
              <a:gd name="connsiteY3" fmla="*/ 83949 h 503685"/>
              <a:gd name="connsiteX4" fmla="*/ 12053455 w 12053455"/>
              <a:gd name="connsiteY4" fmla="*/ 419736 h 503685"/>
              <a:gd name="connsiteX5" fmla="*/ 11969506 w 12053455"/>
              <a:gd name="connsiteY5" fmla="*/ 503685 h 503685"/>
              <a:gd name="connsiteX6" fmla="*/ 83949 w 12053455"/>
              <a:gd name="connsiteY6" fmla="*/ 503685 h 503685"/>
              <a:gd name="connsiteX7" fmla="*/ 0 w 12053455"/>
              <a:gd name="connsiteY7" fmla="*/ 419736 h 503685"/>
              <a:gd name="connsiteX8" fmla="*/ 0 w 12053455"/>
              <a:gd name="connsiteY8" fmla="*/ 83949 h 50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503685">
                <a:moveTo>
                  <a:pt x="0" y="83949"/>
                </a:moveTo>
                <a:cubicBezTo>
                  <a:pt x="0" y="37585"/>
                  <a:pt x="37585" y="0"/>
                  <a:pt x="83949" y="0"/>
                </a:cubicBezTo>
                <a:lnTo>
                  <a:pt x="11969506" y="0"/>
                </a:lnTo>
                <a:cubicBezTo>
                  <a:pt x="12015870" y="0"/>
                  <a:pt x="12053455" y="37585"/>
                  <a:pt x="12053455" y="83949"/>
                </a:cubicBezTo>
                <a:lnTo>
                  <a:pt x="12053455" y="419736"/>
                </a:lnTo>
                <a:cubicBezTo>
                  <a:pt x="12053455" y="466100"/>
                  <a:pt x="12015870" y="503685"/>
                  <a:pt x="11969506" y="503685"/>
                </a:cubicBezTo>
                <a:lnTo>
                  <a:pt x="83949" y="503685"/>
                </a:lnTo>
                <a:cubicBezTo>
                  <a:pt x="37585" y="503685"/>
                  <a:pt x="0" y="466100"/>
                  <a:pt x="0" y="419736"/>
                </a:cubicBezTo>
                <a:lnTo>
                  <a:pt x="0" y="8394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marL="0" lvl="0" indent="0" algn="l" defTabSz="933450">
              <a:lnSpc>
                <a:spcPct val="90000"/>
              </a:lnSpc>
              <a:spcBef>
                <a:spcPct val="0"/>
              </a:spcBef>
              <a:spcAft>
                <a:spcPct val="35000"/>
              </a:spcAft>
              <a:buNone/>
            </a:pPr>
            <a:r>
              <a:rPr lang="en-US" sz="2100" kern="1200" dirty="0"/>
              <a:t>Clone your voice as a Text-to-Speech option</a:t>
            </a:r>
          </a:p>
        </p:txBody>
      </p:sp>
      <p:sp>
        <p:nvSpPr>
          <p:cNvPr id="45" name="Freeform: Shape 44">
            <a:extLst>
              <a:ext uri="{FF2B5EF4-FFF2-40B4-BE49-F238E27FC236}">
                <a16:creationId xmlns:a16="http://schemas.microsoft.com/office/drawing/2014/main" id="{F03E4ED0-D429-F846-20D2-405570E13F5A}"/>
              </a:ext>
            </a:extLst>
          </p:cNvPr>
          <p:cNvSpPr/>
          <p:nvPr/>
        </p:nvSpPr>
        <p:spPr>
          <a:xfrm>
            <a:off x="228600" y="1260062"/>
            <a:ext cx="5165822" cy="503685"/>
          </a:xfrm>
          <a:custGeom>
            <a:avLst/>
            <a:gdLst>
              <a:gd name="connsiteX0" fmla="*/ 0 w 12053455"/>
              <a:gd name="connsiteY0" fmla="*/ 83949 h 503685"/>
              <a:gd name="connsiteX1" fmla="*/ 83949 w 12053455"/>
              <a:gd name="connsiteY1" fmla="*/ 0 h 503685"/>
              <a:gd name="connsiteX2" fmla="*/ 11969506 w 12053455"/>
              <a:gd name="connsiteY2" fmla="*/ 0 h 503685"/>
              <a:gd name="connsiteX3" fmla="*/ 12053455 w 12053455"/>
              <a:gd name="connsiteY3" fmla="*/ 83949 h 503685"/>
              <a:gd name="connsiteX4" fmla="*/ 12053455 w 12053455"/>
              <a:gd name="connsiteY4" fmla="*/ 419736 h 503685"/>
              <a:gd name="connsiteX5" fmla="*/ 11969506 w 12053455"/>
              <a:gd name="connsiteY5" fmla="*/ 503685 h 503685"/>
              <a:gd name="connsiteX6" fmla="*/ 83949 w 12053455"/>
              <a:gd name="connsiteY6" fmla="*/ 503685 h 503685"/>
              <a:gd name="connsiteX7" fmla="*/ 0 w 12053455"/>
              <a:gd name="connsiteY7" fmla="*/ 419736 h 503685"/>
              <a:gd name="connsiteX8" fmla="*/ 0 w 12053455"/>
              <a:gd name="connsiteY8" fmla="*/ 83949 h 50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503685">
                <a:moveTo>
                  <a:pt x="0" y="83949"/>
                </a:moveTo>
                <a:cubicBezTo>
                  <a:pt x="0" y="37585"/>
                  <a:pt x="37585" y="0"/>
                  <a:pt x="83949" y="0"/>
                </a:cubicBezTo>
                <a:lnTo>
                  <a:pt x="11969506" y="0"/>
                </a:lnTo>
                <a:cubicBezTo>
                  <a:pt x="12015870" y="0"/>
                  <a:pt x="12053455" y="37585"/>
                  <a:pt x="12053455" y="83949"/>
                </a:cubicBezTo>
                <a:lnTo>
                  <a:pt x="12053455" y="419736"/>
                </a:lnTo>
                <a:cubicBezTo>
                  <a:pt x="12053455" y="466100"/>
                  <a:pt x="12015870" y="503685"/>
                  <a:pt x="11969506" y="503685"/>
                </a:cubicBezTo>
                <a:lnTo>
                  <a:pt x="83949" y="503685"/>
                </a:lnTo>
                <a:cubicBezTo>
                  <a:pt x="37585" y="503685"/>
                  <a:pt x="0" y="466100"/>
                  <a:pt x="0" y="419736"/>
                </a:cubicBezTo>
                <a:lnTo>
                  <a:pt x="0" y="8394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marL="0" lvl="0" indent="0" algn="l" defTabSz="933450">
              <a:lnSpc>
                <a:spcPct val="90000"/>
              </a:lnSpc>
              <a:spcBef>
                <a:spcPct val="0"/>
              </a:spcBef>
              <a:spcAft>
                <a:spcPct val="35000"/>
              </a:spcAft>
              <a:buNone/>
            </a:pPr>
            <a:r>
              <a:rPr lang="en-US" sz="2100" kern="1200"/>
              <a:t>Better Formatting in Notes / Text / Transcript</a:t>
            </a:r>
          </a:p>
        </p:txBody>
      </p:sp>
      <p:sp>
        <p:nvSpPr>
          <p:cNvPr id="46" name="Freeform: Shape 45">
            <a:extLst>
              <a:ext uri="{FF2B5EF4-FFF2-40B4-BE49-F238E27FC236}">
                <a16:creationId xmlns:a16="http://schemas.microsoft.com/office/drawing/2014/main" id="{C915F8E2-816B-DD78-5959-DB384A0B7E7E}"/>
              </a:ext>
            </a:extLst>
          </p:cNvPr>
          <p:cNvSpPr/>
          <p:nvPr/>
        </p:nvSpPr>
        <p:spPr>
          <a:xfrm>
            <a:off x="228600" y="1824227"/>
            <a:ext cx="5165822" cy="503685"/>
          </a:xfrm>
          <a:custGeom>
            <a:avLst/>
            <a:gdLst>
              <a:gd name="connsiteX0" fmla="*/ 0 w 12053455"/>
              <a:gd name="connsiteY0" fmla="*/ 83949 h 503685"/>
              <a:gd name="connsiteX1" fmla="*/ 83949 w 12053455"/>
              <a:gd name="connsiteY1" fmla="*/ 0 h 503685"/>
              <a:gd name="connsiteX2" fmla="*/ 11969506 w 12053455"/>
              <a:gd name="connsiteY2" fmla="*/ 0 h 503685"/>
              <a:gd name="connsiteX3" fmla="*/ 12053455 w 12053455"/>
              <a:gd name="connsiteY3" fmla="*/ 83949 h 503685"/>
              <a:gd name="connsiteX4" fmla="*/ 12053455 w 12053455"/>
              <a:gd name="connsiteY4" fmla="*/ 419736 h 503685"/>
              <a:gd name="connsiteX5" fmla="*/ 11969506 w 12053455"/>
              <a:gd name="connsiteY5" fmla="*/ 503685 h 503685"/>
              <a:gd name="connsiteX6" fmla="*/ 83949 w 12053455"/>
              <a:gd name="connsiteY6" fmla="*/ 503685 h 503685"/>
              <a:gd name="connsiteX7" fmla="*/ 0 w 12053455"/>
              <a:gd name="connsiteY7" fmla="*/ 419736 h 503685"/>
              <a:gd name="connsiteX8" fmla="*/ 0 w 12053455"/>
              <a:gd name="connsiteY8" fmla="*/ 83949 h 50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503685">
                <a:moveTo>
                  <a:pt x="0" y="83949"/>
                </a:moveTo>
                <a:cubicBezTo>
                  <a:pt x="0" y="37585"/>
                  <a:pt x="37585" y="0"/>
                  <a:pt x="83949" y="0"/>
                </a:cubicBezTo>
                <a:lnTo>
                  <a:pt x="11969506" y="0"/>
                </a:lnTo>
                <a:cubicBezTo>
                  <a:pt x="12015870" y="0"/>
                  <a:pt x="12053455" y="37585"/>
                  <a:pt x="12053455" y="83949"/>
                </a:cubicBezTo>
                <a:lnTo>
                  <a:pt x="12053455" y="419736"/>
                </a:lnTo>
                <a:cubicBezTo>
                  <a:pt x="12053455" y="466100"/>
                  <a:pt x="12015870" y="503685"/>
                  <a:pt x="11969506" y="503685"/>
                </a:cubicBezTo>
                <a:lnTo>
                  <a:pt x="83949" y="503685"/>
                </a:lnTo>
                <a:cubicBezTo>
                  <a:pt x="37585" y="503685"/>
                  <a:pt x="0" y="466100"/>
                  <a:pt x="0" y="419736"/>
                </a:cubicBezTo>
                <a:lnTo>
                  <a:pt x="0" y="8394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marL="0" lvl="0" indent="0" algn="l" defTabSz="933450">
              <a:lnSpc>
                <a:spcPct val="90000"/>
              </a:lnSpc>
              <a:spcBef>
                <a:spcPct val="0"/>
              </a:spcBef>
              <a:spcAft>
                <a:spcPct val="35000"/>
              </a:spcAft>
              <a:buNone/>
            </a:pPr>
            <a:r>
              <a:rPr lang="en-US" sz="2100" kern="1200"/>
              <a:t>More Viewing Options (Modes)</a:t>
            </a:r>
          </a:p>
        </p:txBody>
      </p:sp>
      <p:pic>
        <p:nvPicPr>
          <p:cNvPr id="8" name="Logo" descr="A close up of a sign&#10;&#10;Description automatically generated">
            <a:extLst>
              <a:ext uri="{FF2B5EF4-FFF2-40B4-BE49-F238E27FC236}">
                <a16:creationId xmlns:a16="http://schemas.microsoft.com/office/drawing/2014/main" id="{8D6D24E6-097C-6565-6D68-1A3BA8F9263C}"/>
              </a:ext>
            </a:extLst>
          </p:cNvPr>
          <p:cNvPicPr>
            <a:picLocks noChangeAspect="1"/>
          </p:cNvPicPr>
          <p:nvPr/>
        </p:nvPicPr>
        <p:blipFill>
          <a:blip r:embed="rId6"/>
          <a:stretch>
            <a:fillRect/>
          </a:stretch>
        </p:blipFill>
        <p:spPr>
          <a:xfrm>
            <a:off x="10205381" y="-24880"/>
            <a:ext cx="1996606" cy="885994"/>
          </a:xfrm>
          <a:prstGeom prst="rect">
            <a:avLst/>
          </a:prstGeom>
        </p:spPr>
      </p:pic>
      <p:sp>
        <p:nvSpPr>
          <p:cNvPr id="21" name="Rectangle 20">
            <a:extLst>
              <a:ext uri="{FF2B5EF4-FFF2-40B4-BE49-F238E27FC236}">
                <a16:creationId xmlns:a16="http://schemas.microsoft.com/office/drawing/2014/main" id="{9476318F-C84F-A3F0-CF99-F59DDFCFB2BF}"/>
              </a:ext>
            </a:extLst>
          </p:cNvPr>
          <p:cNvSpPr/>
          <p:nvPr/>
        </p:nvSpPr>
        <p:spPr>
          <a:xfrm>
            <a:off x="1019498" y="3509639"/>
            <a:ext cx="2319278" cy="123792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Current Slide</a:t>
            </a:r>
          </a:p>
        </p:txBody>
      </p:sp>
      <p:sp>
        <p:nvSpPr>
          <p:cNvPr id="22" name="Rectangle 21">
            <a:extLst>
              <a:ext uri="{FF2B5EF4-FFF2-40B4-BE49-F238E27FC236}">
                <a16:creationId xmlns:a16="http://schemas.microsoft.com/office/drawing/2014/main" id="{4E9640EA-6C9A-0CC5-1445-C8A5386DBA5A}"/>
              </a:ext>
            </a:extLst>
          </p:cNvPr>
          <p:cNvSpPr/>
          <p:nvPr/>
        </p:nvSpPr>
        <p:spPr>
          <a:xfrm>
            <a:off x="3395011" y="3509639"/>
            <a:ext cx="575422" cy="123792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2400" dirty="0"/>
              <a:t>Notes</a:t>
            </a:r>
          </a:p>
        </p:txBody>
      </p:sp>
      <p:sp>
        <p:nvSpPr>
          <p:cNvPr id="24" name="Rectangle 23">
            <a:extLst>
              <a:ext uri="{FF2B5EF4-FFF2-40B4-BE49-F238E27FC236}">
                <a16:creationId xmlns:a16="http://schemas.microsoft.com/office/drawing/2014/main" id="{8E5D3A20-1FAC-0B87-FCA2-BEEB5D3A3624}"/>
              </a:ext>
            </a:extLst>
          </p:cNvPr>
          <p:cNvSpPr/>
          <p:nvPr/>
        </p:nvSpPr>
        <p:spPr>
          <a:xfrm>
            <a:off x="8597105" y="3507633"/>
            <a:ext cx="2319278" cy="123792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Video / </a:t>
            </a:r>
          </a:p>
          <a:p>
            <a:pPr algn="ctr"/>
            <a:r>
              <a:rPr lang="en-US" sz="2400" dirty="0"/>
              <a:t>Current Slide</a:t>
            </a:r>
          </a:p>
        </p:txBody>
      </p:sp>
      <p:sp>
        <p:nvSpPr>
          <p:cNvPr id="25" name="Rectangle 24">
            <a:extLst>
              <a:ext uri="{FF2B5EF4-FFF2-40B4-BE49-F238E27FC236}">
                <a16:creationId xmlns:a16="http://schemas.microsoft.com/office/drawing/2014/main" id="{605150B8-8CD3-B2A9-802A-295212C621FF}"/>
              </a:ext>
            </a:extLst>
          </p:cNvPr>
          <p:cNvSpPr/>
          <p:nvPr/>
        </p:nvSpPr>
        <p:spPr>
          <a:xfrm>
            <a:off x="4920487" y="3152935"/>
            <a:ext cx="2319278" cy="29677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rticle Title</a:t>
            </a:r>
          </a:p>
        </p:txBody>
      </p:sp>
      <p:sp>
        <p:nvSpPr>
          <p:cNvPr id="26" name="Rectangle 25">
            <a:extLst>
              <a:ext uri="{FF2B5EF4-FFF2-40B4-BE49-F238E27FC236}">
                <a16:creationId xmlns:a16="http://schemas.microsoft.com/office/drawing/2014/main" id="{CBE4B37D-705C-E13B-33E6-0DF8B6D48782}"/>
              </a:ext>
            </a:extLst>
          </p:cNvPr>
          <p:cNvSpPr/>
          <p:nvPr/>
        </p:nvSpPr>
        <p:spPr>
          <a:xfrm>
            <a:off x="5224746" y="3486520"/>
            <a:ext cx="1742508" cy="79768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Slide</a:t>
            </a:r>
          </a:p>
        </p:txBody>
      </p:sp>
      <p:sp>
        <p:nvSpPr>
          <p:cNvPr id="27" name="Rectangle 26">
            <a:extLst>
              <a:ext uri="{FF2B5EF4-FFF2-40B4-BE49-F238E27FC236}">
                <a16:creationId xmlns:a16="http://schemas.microsoft.com/office/drawing/2014/main" id="{ED0A1D17-C6C9-A387-539D-7345E6FB06B6}"/>
              </a:ext>
            </a:extLst>
          </p:cNvPr>
          <p:cNvSpPr/>
          <p:nvPr/>
        </p:nvSpPr>
        <p:spPr>
          <a:xfrm>
            <a:off x="4936361" y="4312850"/>
            <a:ext cx="2319278" cy="495300"/>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Notes</a:t>
            </a:r>
          </a:p>
        </p:txBody>
      </p:sp>
      <p:sp>
        <p:nvSpPr>
          <p:cNvPr id="30" name="Rectangle 29">
            <a:extLst>
              <a:ext uri="{FF2B5EF4-FFF2-40B4-BE49-F238E27FC236}">
                <a16:creationId xmlns:a16="http://schemas.microsoft.com/office/drawing/2014/main" id="{B286C2E8-AAC3-F8D0-8737-C01C1D6BA5F0}"/>
              </a:ext>
            </a:extLst>
          </p:cNvPr>
          <p:cNvSpPr/>
          <p:nvPr/>
        </p:nvSpPr>
        <p:spPr>
          <a:xfrm>
            <a:off x="4936361" y="6216814"/>
            <a:ext cx="2319279" cy="298867"/>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a:t>
            </a:r>
          </a:p>
        </p:txBody>
      </p:sp>
      <p:sp>
        <p:nvSpPr>
          <p:cNvPr id="31" name="Rectangle 30">
            <a:extLst>
              <a:ext uri="{FF2B5EF4-FFF2-40B4-BE49-F238E27FC236}">
                <a16:creationId xmlns:a16="http://schemas.microsoft.com/office/drawing/2014/main" id="{91CF2EA2-691A-80B4-80B5-A358B0539B82}"/>
              </a:ext>
            </a:extLst>
          </p:cNvPr>
          <p:cNvSpPr/>
          <p:nvPr/>
        </p:nvSpPr>
        <p:spPr>
          <a:xfrm>
            <a:off x="5224746" y="4845063"/>
            <a:ext cx="1742508" cy="79768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Slide</a:t>
            </a:r>
          </a:p>
        </p:txBody>
      </p:sp>
      <p:sp>
        <p:nvSpPr>
          <p:cNvPr id="32" name="Rectangle 31">
            <a:extLst>
              <a:ext uri="{FF2B5EF4-FFF2-40B4-BE49-F238E27FC236}">
                <a16:creationId xmlns:a16="http://schemas.microsoft.com/office/drawing/2014/main" id="{3F08ABBA-D62F-1E94-C1E3-A170A8E2CAA6}"/>
              </a:ext>
            </a:extLst>
          </p:cNvPr>
          <p:cNvSpPr/>
          <p:nvPr/>
        </p:nvSpPr>
        <p:spPr>
          <a:xfrm>
            <a:off x="4936361" y="5676170"/>
            <a:ext cx="2319278" cy="495300"/>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Notes</a:t>
            </a:r>
          </a:p>
        </p:txBody>
      </p:sp>
      <p:sp>
        <p:nvSpPr>
          <p:cNvPr id="33" name="Rectangle 32">
            <a:extLst>
              <a:ext uri="{FF2B5EF4-FFF2-40B4-BE49-F238E27FC236}">
                <a16:creationId xmlns:a16="http://schemas.microsoft.com/office/drawing/2014/main" id="{11A4CCEE-E7D7-02BF-0900-1EBE5960B0C0}"/>
              </a:ext>
            </a:extLst>
          </p:cNvPr>
          <p:cNvSpPr/>
          <p:nvPr/>
        </p:nvSpPr>
        <p:spPr>
          <a:xfrm>
            <a:off x="8597105" y="3148263"/>
            <a:ext cx="2319278" cy="29677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rticle Title</a:t>
            </a:r>
          </a:p>
        </p:txBody>
      </p:sp>
      <p:sp>
        <p:nvSpPr>
          <p:cNvPr id="34" name="Rectangle 33">
            <a:extLst>
              <a:ext uri="{FF2B5EF4-FFF2-40B4-BE49-F238E27FC236}">
                <a16:creationId xmlns:a16="http://schemas.microsoft.com/office/drawing/2014/main" id="{D77EC742-AA12-D8B2-3115-975519C7CCEE}"/>
              </a:ext>
            </a:extLst>
          </p:cNvPr>
          <p:cNvSpPr/>
          <p:nvPr/>
        </p:nvSpPr>
        <p:spPr>
          <a:xfrm>
            <a:off x="10073272" y="4810322"/>
            <a:ext cx="8431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lide</a:t>
            </a:r>
          </a:p>
        </p:txBody>
      </p:sp>
      <p:sp>
        <p:nvSpPr>
          <p:cNvPr id="35" name="Rectangle 34">
            <a:extLst>
              <a:ext uri="{FF2B5EF4-FFF2-40B4-BE49-F238E27FC236}">
                <a16:creationId xmlns:a16="http://schemas.microsoft.com/office/drawing/2014/main" id="{FF48B120-6290-C456-1ABA-39C90FE5BDD1}"/>
              </a:ext>
            </a:extLst>
          </p:cNvPr>
          <p:cNvSpPr/>
          <p:nvPr/>
        </p:nvSpPr>
        <p:spPr>
          <a:xfrm>
            <a:off x="8597104" y="4808150"/>
            <a:ext cx="14160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Notes</a:t>
            </a:r>
          </a:p>
        </p:txBody>
      </p:sp>
      <p:sp>
        <p:nvSpPr>
          <p:cNvPr id="36" name="Rectangle 35">
            <a:extLst>
              <a:ext uri="{FF2B5EF4-FFF2-40B4-BE49-F238E27FC236}">
                <a16:creationId xmlns:a16="http://schemas.microsoft.com/office/drawing/2014/main" id="{136F3901-B8EF-4FB7-ACF7-0791D261FD33}"/>
              </a:ext>
            </a:extLst>
          </p:cNvPr>
          <p:cNvSpPr/>
          <p:nvPr/>
        </p:nvSpPr>
        <p:spPr>
          <a:xfrm>
            <a:off x="10073272" y="5291004"/>
            <a:ext cx="8431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lide</a:t>
            </a:r>
          </a:p>
        </p:txBody>
      </p:sp>
      <p:sp>
        <p:nvSpPr>
          <p:cNvPr id="37" name="Rectangle 36">
            <a:extLst>
              <a:ext uri="{FF2B5EF4-FFF2-40B4-BE49-F238E27FC236}">
                <a16:creationId xmlns:a16="http://schemas.microsoft.com/office/drawing/2014/main" id="{2E74FBD2-344D-4B06-AAFD-F6DB527B57FC}"/>
              </a:ext>
            </a:extLst>
          </p:cNvPr>
          <p:cNvSpPr/>
          <p:nvPr/>
        </p:nvSpPr>
        <p:spPr>
          <a:xfrm>
            <a:off x="8597104" y="5288832"/>
            <a:ext cx="14160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Notes</a:t>
            </a:r>
          </a:p>
        </p:txBody>
      </p:sp>
      <p:sp>
        <p:nvSpPr>
          <p:cNvPr id="38" name="Rectangle 37">
            <a:extLst>
              <a:ext uri="{FF2B5EF4-FFF2-40B4-BE49-F238E27FC236}">
                <a16:creationId xmlns:a16="http://schemas.microsoft.com/office/drawing/2014/main" id="{94909F06-7DFA-755F-3998-24D8DB8D03C2}"/>
              </a:ext>
            </a:extLst>
          </p:cNvPr>
          <p:cNvSpPr/>
          <p:nvPr/>
        </p:nvSpPr>
        <p:spPr>
          <a:xfrm>
            <a:off x="10073272" y="5773858"/>
            <a:ext cx="8431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lide</a:t>
            </a:r>
          </a:p>
        </p:txBody>
      </p:sp>
      <p:sp>
        <p:nvSpPr>
          <p:cNvPr id="39" name="Rectangle 38">
            <a:extLst>
              <a:ext uri="{FF2B5EF4-FFF2-40B4-BE49-F238E27FC236}">
                <a16:creationId xmlns:a16="http://schemas.microsoft.com/office/drawing/2014/main" id="{A0A468B6-D4E2-4481-3191-2C317A469731}"/>
              </a:ext>
            </a:extLst>
          </p:cNvPr>
          <p:cNvSpPr/>
          <p:nvPr/>
        </p:nvSpPr>
        <p:spPr>
          <a:xfrm>
            <a:off x="8597104" y="5771686"/>
            <a:ext cx="14160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Notes</a:t>
            </a:r>
          </a:p>
        </p:txBody>
      </p:sp>
      <p:sp>
        <p:nvSpPr>
          <p:cNvPr id="40" name="Rectangle 39">
            <a:extLst>
              <a:ext uri="{FF2B5EF4-FFF2-40B4-BE49-F238E27FC236}">
                <a16:creationId xmlns:a16="http://schemas.microsoft.com/office/drawing/2014/main" id="{6524E2F6-95BB-2647-4BAC-A34F04523A20}"/>
              </a:ext>
            </a:extLst>
          </p:cNvPr>
          <p:cNvSpPr/>
          <p:nvPr/>
        </p:nvSpPr>
        <p:spPr>
          <a:xfrm>
            <a:off x="8597105" y="6238457"/>
            <a:ext cx="2319279" cy="298867"/>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a:t>
            </a:r>
          </a:p>
        </p:txBody>
      </p:sp>
      <p:sp>
        <p:nvSpPr>
          <p:cNvPr id="41" name="Rectangle: Rounded Corners 40">
            <a:extLst>
              <a:ext uri="{FF2B5EF4-FFF2-40B4-BE49-F238E27FC236}">
                <a16:creationId xmlns:a16="http://schemas.microsoft.com/office/drawing/2014/main" id="{436F6D3D-0A13-57C3-DA18-E5C7020F2F97}"/>
              </a:ext>
            </a:extLst>
          </p:cNvPr>
          <p:cNvSpPr/>
          <p:nvPr/>
        </p:nvSpPr>
        <p:spPr>
          <a:xfrm>
            <a:off x="6797579" y="982807"/>
            <a:ext cx="4669699" cy="1056090"/>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Integration with your Site</a:t>
            </a:r>
          </a:p>
        </p:txBody>
      </p:sp>
      <p:pic>
        <p:nvPicPr>
          <p:cNvPr id="1028" name="Scollbar1" descr="Height, overflow, overflow-y, scroll, scroll bar, scrollbar, vertical icon  - Download on Iconfinder">
            <a:extLst>
              <a:ext uri="{FF2B5EF4-FFF2-40B4-BE49-F238E27FC236}">
                <a16:creationId xmlns:a16="http://schemas.microsoft.com/office/drawing/2014/main" id="{EEC4B99D-4C5E-114F-6261-3A007E94CDC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027" t="5994" r="38576" b="7327"/>
          <a:stretch/>
        </p:blipFill>
        <p:spPr bwMode="auto">
          <a:xfrm>
            <a:off x="7255639" y="3062037"/>
            <a:ext cx="456604" cy="3344780"/>
          </a:xfrm>
          <a:prstGeom prst="rect">
            <a:avLst/>
          </a:prstGeom>
          <a:noFill/>
          <a:extLst>
            <a:ext uri="{909E8E84-426E-40DD-AFC4-6F175D3DCCD1}">
              <a14:hiddenFill xmlns:a14="http://schemas.microsoft.com/office/drawing/2010/main">
                <a:solidFill>
                  <a:srgbClr val="FFFFFF"/>
                </a:solidFill>
              </a14:hiddenFill>
            </a:ext>
          </a:extLst>
        </p:spPr>
      </p:pic>
      <p:pic>
        <p:nvPicPr>
          <p:cNvPr id="47" name="Scollbar2" descr="Height, overflow, overflow-y, scroll, scroll bar, scrollbar, vertical icon  - Download on Iconfinder">
            <a:extLst>
              <a:ext uri="{FF2B5EF4-FFF2-40B4-BE49-F238E27FC236}">
                <a16:creationId xmlns:a16="http://schemas.microsoft.com/office/drawing/2014/main" id="{9D33BF5E-B6EF-FAB2-F02C-FACD0F950F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027" t="5994" r="38576" b="7327"/>
          <a:stretch/>
        </p:blipFill>
        <p:spPr bwMode="auto">
          <a:xfrm>
            <a:off x="10916383" y="4769622"/>
            <a:ext cx="369238" cy="1637195"/>
          </a:xfrm>
          <a:prstGeom prst="rect">
            <a:avLst/>
          </a:prstGeom>
          <a:noFill/>
          <a:extLst>
            <a:ext uri="{909E8E84-426E-40DD-AFC4-6F175D3DCCD1}">
              <a14:hiddenFill xmlns:a14="http://schemas.microsoft.com/office/drawing/2010/main">
                <a:solidFill>
                  <a:srgbClr val="FFFFFF"/>
                </a:solidFill>
              </a14:hiddenFill>
            </a:ext>
          </a:extLst>
        </p:spPr>
      </p:pic>
      <p:pic>
        <p:nvPicPr>
          <p:cNvPr id="51" name="Slide13">
            <a:hlinkClick r:id="" action="ppaction://media"/>
            <a:extLst>
              <a:ext uri="{FF2B5EF4-FFF2-40B4-BE49-F238E27FC236}">
                <a16:creationId xmlns:a16="http://schemas.microsoft.com/office/drawing/2014/main" id="{E238BE15-3665-17DB-284D-E32DC0166B50}"/>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2474625852"/>
      </p:ext>
    </p:extLst>
  </p:cSld>
  <p:clrMapOvr>
    <a:masterClrMapping/>
  </p:clrMapOvr>
  <mc:AlternateContent xmlns:mc="http://schemas.openxmlformats.org/markup-compatibility/2006">
    <mc:Choice xmlns:p14="http://schemas.microsoft.com/office/powerpoint/2010/main" Requires="p14">
      <p:transition spd="slow" p14:dur="2000" advTm="55055"/>
    </mc:Choice>
    <mc:Fallback>
      <p:transition spd="slow" advTm="5505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51"/>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51"/>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44"/>
                                        </p:tgtEl>
                                        <p:attrNameLst>
                                          <p:attrName>style.visibility</p:attrName>
                                        </p:attrNameLst>
                                      </p:cBhvr>
                                      <p:to>
                                        <p:strVal val="visible"/>
                                      </p:to>
                                    </p:set>
                                    <p:animEffect transition="in" filter="fade">
                                      <p:cBhvr>
                                        <p:cTn id="14" dur="500"/>
                                        <p:tgtEl>
                                          <p:spTgt spid="4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500"/>
                                        <p:tgtEl>
                                          <p:spTgt spid="4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fade">
                                      <p:cBhvr>
                                        <p:cTn id="43" dur="500"/>
                                        <p:tgtEl>
                                          <p:spTgt spid="2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500"/>
                                        <p:tgtEl>
                                          <p:spTgt spid="2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fade">
                                      <p:cBhvr>
                                        <p:cTn id="49" dur="500"/>
                                        <p:tgtEl>
                                          <p:spTgt spid="2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500"/>
                                        <p:tgtEl>
                                          <p:spTgt spid="3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fade">
                                      <p:cBhvr>
                                        <p:cTn id="55" dur="500"/>
                                        <p:tgtEl>
                                          <p:spTgt spid="3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2"/>
                                        </p:tgtEl>
                                        <p:attrNameLst>
                                          <p:attrName>style.visibility</p:attrName>
                                        </p:attrNameLst>
                                      </p:cBhvr>
                                      <p:to>
                                        <p:strVal val="visible"/>
                                      </p:to>
                                    </p:set>
                                    <p:animEffect transition="in" filter="fade">
                                      <p:cBhvr>
                                        <p:cTn id="58" dur="500"/>
                                        <p:tgtEl>
                                          <p:spTgt spid="32"/>
                                        </p:tgtEl>
                                      </p:cBhvr>
                                    </p:animEffect>
                                  </p:childTnLst>
                                </p:cTn>
                              </p:par>
                              <p:par>
                                <p:cTn id="59" presetID="10" presetClass="entr" presetSubtype="0" fill="hold" nodeType="withEffect">
                                  <p:stCondLst>
                                    <p:cond delay="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0"/>
                                        </p:tgtEl>
                                        <p:attrNameLst>
                                          <p:attrName>style.visibility</p:attrName>
                                        </p:attrNameLst>
                                      </p:cBhvr>
                                      <p:to>
                                        <p:strVal val="visible"/>
                                      </p:to>
                                    </p:set>
                                    <p:animEffect transition="in" filter="fade">
                                      <p:cBhvr>
                                        <p:cTn id="66" dur="500"/>
                                        <p:tgtEl>
                                          <p:spTgt spid="20"/>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4"/>
                                        </p:tgtEl>
                                        <p:attrNameLst>
                                          <p:attrName>style.visibility</p:attrName>
                                        </p:attrNameLst>
                                      </p:cBhvr>
                                      <p:to>
                                        <p:strVal val="visible"/>
                                      </p:to>
                                    </p:set>
                                    <p:animEffect transition="in" filter="fade">
                                      <p:cBhvr>
                                        <p:cTn id="69" dur="500"/>
                                        <p:tgtEl>
                                          <p:spTgt spid="2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3"/>
                                        </p:tgtEl>
                                        <p:attrNameLst>
                                          <p:attrName>style.visibility</p:attrName>
                                        </p:attrNameLst>
                                      </p:cBhvr>
                                      <p:to>
                                        <p:strVal val="visible"/>
                                      </p:to>
                                    </p:set>
                                    <p:animEffect transition="in" filter="fade">
                                      <p:cBhvr>
                                        <p:cTn id="72" dur="500"/>
                                        <p:tgtEl>
                                          <p:spTgt spid="3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4"/>
                                        </p:tgtEl>
                                        <p:attrNameLst>
                                          <p:attrName>style.visibility</p:attrName>
                                        </p:attrNameLst>
                                      </p:cBhvr>
                                      <p:to>
                                        <p:strVal val="visible"/>
                                      </p:to>
                                    </p:set>
                                    <p:animEffect transition="in" filter="fade">
                                      <p:cBhvr>
                                        <p:cTn id="75" dur="500"/>
                                        <p:tgtEl>
                                          <p:spTgt spid="3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5"/>
                                        </p:tgtEl>
                                        <p:attrNameLst>
                                          <p:attrName>style.visibility</p:attrName>
                                        </p:attrNameLst>
                                      </p:cBhvr>
                                      <p:to>
                                        <p:strVal val="visible"/>
                                      </p:to>
                                    </p:set>
                                    <p:animEffect transition="in" filter="fade">
                                      <p:cBhvr>
                                        <p:cTn id="78" dur="500"/>
                                        <p:tgtEl>
                                          <p:spTgt spid="3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36"/>
                                        </p:tgtEl>
                                        <p:attrNameLst>
                                          <p:attrName>style.visibility</p:attrName>
                                        </p:attrNameLst>
                                      </p:cBhvr>
                                      <p:to>
                                        <p:strVal val="visible"/>
                                      </p:to>
                                    </p:set>
                                    <p:animEffect transition="in" filter="fade">
                                      <p:cBhvr>
                                        <p:cTn id="81" dur="500"/>
                                        <p:tgtEl>
                                          <p:spTgt spid="36"/>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37"/>
                                        </p:tgtEl>
                                        <p:attrNameLst>
                                          <p:attrName>style.visibility</p:attrName>
                                        </p:attrNameLst>
                                      </p:cBhvr>
                                      <p:to>
                                        <p:strVal val="visible"/>
                                      </p:to>
                                    </p:set>
                                    <p:animEffect transition="in" filter="fade">
                                      <p:cBhvr>
                                        <p:cTn id="84" dur="500"/>
                                        <p:tgtEl>
                                          <p:spTgt spid="37"/>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38"/>
                                        </p:tgtEl>
                                        <p:attrNameLst>
                                          <p:attrName>style.visibility</p:attrName>
                                        </p:attrNameLst>
                                      </p:cBhvr>
                                      <p:to>
                                        <p:strVal val="visible"/>
                                      </p:to>
                                    </p:set>
                                    <p:animEffect transition="in" filter="fade">
                                      <p:cBhvr>
                                        <p:cTn id="87" dur="500"/>
                                        <p:tgtEl>
                                          <p:spTgt spid="38"/>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9"/>
                                        </p:tgtEl>
                                        <p:attrNameLst>
                                          <p:attrName>style.visibility</p:attrName>
                                        </p:attrNameLst>
                                      </p:cBhvr>
                                      <p:to>
                                        <p:strVal val="visible"/>
                                      </p:to>
                                    </p:set>
                                    <p:animEffect transition="in" filter="fade">
                                      <p:cBhvr>
                                        <p:cTn id="90" dur="500"/>
                                        <p:tgtEl>
                                          <p:spTgt spid="3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0"/>
                                        </p:tgtEl>
                                        <p:attrNameLst>
                                          <p:attrName>style.visibility</p:attrName>
                                        </p:attrNameLst>
                                      </p:cBhvr>
                                      <p:to>
                                        <p:strVal val="visible"/>
                                      </p:to>
                                    </p:set>
                                    <p:animEffect transition="in" filter="fade">
                                      <p:cBhvr>
                                        <p:cTn id="93" dur="500"/>
                                        <p:tgtEl>
                                          <p:spTgt spid="40"/>
                                        </p:tgtEl>
                                      </p:cBhvr>
                                    </p:animEffect>
                                  </p:childTnLst>
                                </p:cTn>
                              </p:par>
                              <p:par>
                                <p:cTn id="94" presetID="10" presetClass="entr" presetSubtype="0" fill="hold" nodeType="withEffect">
                                  <p:stCondLst>
                                    <p:cond delay="0"/>
                                  </p:stCondLst>
                                  <p:childTnLst>
                                    <p:set>
                                      <p:cBhvr>
                                        <p:cTn id="95" dur="1" fill="hold">
                                          <p:stCondLst>
                                            <p:cond delay="0"/>
                                          </p:stCondLst>
                                        </p:cTn>
                                        <p:tgtEl>
                                          <p:spTgt spid="47"/>
                                        </p:tgtEl>
                                        <p:attrNameLst>
                                          <p:attrName>style.visibility</p:attrName>
                                        </p:attrNameLst>
                                      </p:cBhvr>
                                      <p:to>
                                        <p:strVal val="visible"/>
                                      </p:to>
                                    </p:set>
                                    <p:animEffect transition="in" filter="fade">
                                      <p:cBhvr>
                                        <p:cTn id="96" dur="500"/>
                                        <p:tgtEl>
                                          <p:spTgt spid="47"/>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41"/>
                                        </p:tgtEl>
                                        <p:attrNameLst>
                                          <p:attrName>style.visibility</p:attrName>
                                        </p:attrNameLst>
                                      </p:cBhvr>
                                      <p:to>
                                        <p:strVal val="visible"/>
                                      </p:to>
                                    </p:set>
                                    <p:animEffect transition="in" filter="fade">
                                      <p:cBhvr>
                                        <p:cTn id="101"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02" fill="hold" display="0">
                  <p:stCondLst>
                    <p:cond delay="indefinite"/>
                  </p:stCondLst>
                  <p:endCondLst>
                    <p:cond evt="onStopAudio" delay="0">
                      <p:tgtEl>
                        <p:sldTgt/>
                      </p:tgtEl>
                    </p:cond>
                  </p:endCondLst>
                </p:cTn>
                <p:tgtEl>
                  <p:spTgt spid="51"/>
                </p:tgtEl>
              </p:cMediaNode>
            </p:audio>
          </p:childTnLst>
        </p:cTn>
      </p:par>
    </p:tnLst>
    <p:bldLst>
      <p:bldP spid="18" grpId="0" animBg="1" autoUpdateAnimBg="0"/>
      <p:bldP spid="19" grpId="0" animBg="1" autoUpdateAnimBg="0"/>
      <p:bldP spid="20" grpId="0" animBg="1" autoUpdateAnimBg="0"/>
      <p:bldP spid="44" grpId="0" animBg="1" autoUpdateAnimBg="0"/>
      <p:bldP spid="45" grpId="0" animBg="1" autoUpdateAnimBg="0"/>
      <p:bldP spid="46" grpId="0" animBg="1" autoUpdateAnimBg="0"/>
      <p:bldP spid="21" grpId="0" animBg="1" autoUpdateAnimBg="0"/>
      <p:bldP spid="22" grpId="0" animBg="1" autoUpdateAnimBg="0"/>
      <p:bldP spid="24" grpId="0" animBg="1" autoUpdateAnimBg="0"/>
      <p:bldP spid="25" grpId="0" animBg="1" autoUpdateAnimBg="0"/>
      <p:bldP spid="26" grpId="0" animBg="1" autoUpdateAnimBg="0"/>
      <p:bldP spid="27" grpId="0" animBg="1" autoUpdateAnimBg="0"/>
      <p:bldP spid="30" grpId="0" animBg="1" autoUpdateAnimBg="0"/>
      <p:bldP spid="31" grpId="0" animBg="1" autoUpdateAnimBg="0"/>
      <p:bldP spid="32" grpId="0" animBg="1" autoUpdateAnimBg="0"/>
      <p:bldP spid="33" grpId="0" animBg="1" autoUpdateAnimBg="0"/>
      <p:bldP spid="34" grpId="0" animBg="1" autoUpdateAnimBg="0"/>
      <p:bldP spid="35" grpId="0" animBg="1" autoUpdateAnimBg="0"/>
      <p:bldP spid="36" grpId="0" animBg="1" autoUpdateAnimBg="0"/>
      <p:bldP spid="37" grpId="0" animBg="1" autoUpdateAnimBg="0"/>
      <p:bldP spid="38" grpId="0" animBg="1" autoUpdateAnimBg="0"/>
      <p:bldP spid="39" grpId="0" animBg="1" autoUpdateAnimBg="0"/>
      <p:bldP spid="40" grpId="0" animBg="1" autoUpdateAnimBg="0"/>
      <p:bldP spid="41" grpId="0" animBg="1"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tionNameTextPlaceholder">
            <a:extLst>
              <a:ext uri="{FF2B5EF4-FFF2-40B4-BE49-F238E27FC236}">
                <a16:creationId xmlns:a16="http://schemas.microsoft.com/office/drawing/2014/main" id="{8027D4CB-0961-B4F0-4CBC-1D982529AEC6}"/>
              </a:ext>
            </a:extLst>
          </p:cNvPr>
          <p:cNvSpPr>
            <a:spLocks noGrp="1"/>
          </p:cNvSpPr>
          <p:nvPr>
            <p:ph type="body" idx="1"/>
          </p:nvPr>
        </p:nvSpPr>
        <p:spPr>
          <a:xfrm>
            <a:off x="6" y="6536608"/>
            <a:ext cx="5965974" cy="313241"/>
          </a:xfrm>
        </p:spPr>
        <p:txBody>
          <a:bodyPr>
            <a:normAutofit fontScale="92500"/>
          </a:bodyPr>
          <a:lstStyle/>
          <a:p>
            <a:r>
              <a:rPr lang="en-US" dirty="0"/>
              <a:t>(my voice – manually recorded using the Narration feature in PowerPoint)</a:t>
            </a:r>
          </a:p>
        </p:txBody>
      </p:sp>
      <p:sp>
        <p:nvSpPr>
          <p:cNvPr id="3" name="Title 2">
            <a:extLst>
              <a:ext uri="{FF2B5EF4-FFF2-40B4-BE49-F238E27FC236}">
                <a16:creationId xmlns:a16="http://schemas.microsoft.com/office/drawing/2014/main" id="{F26628FC-591A-3FCB-8BD7-B5363D9A9530}"/>
              </a:ext>
            </a:extLst>
          </p:cNvPr>
          <p:cNvSpPr>
            <a:spLocks noGrp="1"/>
          </p:cNvSpPr>
          <p:nvPr>
            <p:ph type="title"/>
          </p:nvPr>
        </p:nvSpPr>
        <p:spPr/>
        <p:txBody>
          <a:bodyPr/>
          <a:lstStyle/>
          <a:p>
            <a:r>
              <a:rPr lang="en-US" dirty="0"/>
              <a:t>Choose your modality</a:t>
            </a:r>
          </a:p>
        </p:txBody>
      </p:sp>
      <p:sp>
        <p:nvSpPr>
          <p:cNvPr id="4" name="Text Placeholder 3">
            <a:extLst>
              <a:ext uri="{FF2B5EF4-FFF2-40B4-BE49-F238E27FC236}">
                <a16:creationId xmlns:a16="http://schemas.microsoft.com/office/drawing/2014/main" id="{15B92DA9-176D-2859-EA4E-EA15F80A78B2}"/>
              </a:ext>
            </a:extLst>
          </p:cNvPr>
          <p:cNvSpPr>
            <a:spLocks noGrp="1"/>
          </p:cNvSpPr>
          <p:nvPr>
            <p:ph type="body" sz="quarter" idx="3"/>
          </p:nvPr>
        </p:nvSpPr>
        <p:spPr/>
        <p:txBody>
          <a:bodyPr/>
          <a:lstStyle/>
          <a:p>
            <a:endParaRPr lang="en-US"/>
          </a:p>
        </p:txBody>
      </p:sp>
      <p:sp>
        <p:nvSpPr>
          <p:cNvPr id="12" name="Freeform: Shape 11">
            <a:extLst>
              <a:ext uri="{FF2B5EF4-FFF2-40B4-BE49-F238E27FC236}">
                <a16:creationId xmlns:a16="http://schemas.microsoft.com/office/drawing/2014/main" id="{1D396CB1-360C-E5A5-8C88-2989F8F6AE2F}"/>
              </a:ext>
            </a:extLst>
          </p:cNvPr>
          <p:cNvSpPr/>
          <p:nvPr/>
        </p:nvSpPr>
        <p:spPr>
          <a:xfrm>
            <a:off x="4403896" y="831582"/>
            <a:ext cx="7714212" cy="1112065"/>
          </a:xfrm>
          <a:custGeom>
            <a:avLst/>
            <a:gdLst>
              <a:gd name="connsiteX0" fmla="*/ 185348 w 1112064"/>
              <a:gd name="connsiteY0" fmla="*/ 0 h 7714211"/>
              <a:gd name="connsiteX1" fmla="*/ 926716 w 1112064"/>
              <a:gd name="connsiteY1" fmla="*/ 0 h 7714211"/>
              <a:gd name="connsiteX2" fmla="*/ 1112064 w 1112064"/>
              <a:gd name="connsiteY2" fmla="*/ 185348 h 7714211"/>
              <a:gd name="connsiteX3" fmla="*/ 1112064 w 1112064"/>
              <a:gd name="connsiteY3" fmla="*/ 7714211 h 7714211"/>
              <a:gd name="connsiteX4" fmla="*/ 1112064 w 1112064"/>
              <a:gd name="connsiteY4" fmla="*/ 7714211 h 7714211"/>
              <a:gd name="connsiteX5" fmla="*/ 0 w 1112064"/>
              <a:gd name="connsiteY5" fmla="*/ 7714211 h 7714211"/>
              <a:gd name="connsiteX6" fmla="*/ 0 w 1112064"/>
              <a:gd name="connsiteY6" fmla="*/ 7714211 h 7714211"/>
              <a:gd name="connsiteX7" fmla="*/ 0 w 1112064"/>
              <a:gd name="connsiteY7" fmla="*/ 185348 h 7714211"/>
              <a:gd name="connsiteX8" fmla="*/ 185348 w 1112064"/>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2064" h="7714211">
                <a:moveTo>
                  <a:pt x="1112064" y="1285732"/>
                </a:moveTo>
                <a:lnTo>
                  <a:pt x="1112064" y="6428479"/>
                </a:lnTo>
                <a:cubicBezTo>
                  <a:pt x="1112064" y="7138568"/>
                  <a:pt x="1100101" y="7714208"/>
                  <a:pt x="1085345" y="7714208"/>
                </a:cubicBezTo>
                <a:lnTo>
                  <a:pt x="0" y="7714208"/>
                </a:lnTo>
                <a:lnTo>
                  <a:pt x="0" y="7714208"/>
                </a:lnTo>
                <a:lnTo>
                  <a:pt x="0" y="3"/>
                </a:lnTo>
                <a:lnTo>
                  <a:pt x="0" y="3"/>
                </a:lnTo>
                <a:lnTo>
                  <a:pt x="1085345" y="3"/>
                </a:lnTo>
                <a:cubicBezTo>
                  <a:pt x="1100101" y="3"/>
                  <a:pt x="1112064" y="575643"/>
                  <a:pt x="1112064" y="1285732"/>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8111" tIns="113341" rIns="172396" bIns="113342" numCol="1" spcCol="1270" anchor="ctr" anchorCtr="0">
            <a:noAutofit/>
          </a:bodyPr>
          <a:lstStyle/>
          <a:p>
            <a:pPr marL="285750" lvl="1" indent="-285750" algn="l" defTabSz="1377950">
              <a:lnSpc>
                <a:spcPct val="90000"/>
              </a:lnSpc>
              <a:spcBef>
                <a:spcPct val="0"/>
              </a:spcBef>
              <a:spcAft>
                <a:spcPct val="15000"/>
              </a:spcAft>
              <a:buChar char="•"/>
            </a:pPr>
            <a:r>
              <a:rPr lang="en-US" sz="3100" kern="1200"/>
              <a:t>Slides with Notes (Transcript)</a:t>
            </a:r>
          </a:p>
        </p:txBody>
      </p:sp>
      <p:sp>
        <p:nvSpPr>
          <p:cNvPr id="13" name="Freeform: Shape 12">
            <a:extLst>
              <a:ext uri="{FF2B5EF4-FFF2-40B4-BE49-F238E27FC236}">
                <a16:creationId xmlns:a16="http://schemas.microsoft.com/office/drawing/2014/main" id="{821D1D78-A43A-38F1-A7BF-77C4885F2150}"/>
              </a:ext>
            </a:extLst>
          </p:cNvPr>
          <p:cNvSpPr/>
          <p:nvPr/>
        </p:nvSpPr>
        <p:spPr>
          <a:xfrm>
            <a:off x="64653" y="692574"/>
            <a:ext cx="4339243" cy="1390080"/>
          </a:xfrm>
          <a:custGeom>
            <a:avLst/>
            <a:gdLst>
              <a:gd name="connsiteX0" fmla="*/ 0 w 4339243"/>
              <a:gd name="connsiteY0" fmla="*/ 231685 h 1390080"/>
              <a:gd name="connsiteX1" fmla="*/ 231685 w 4339243"/>
              <a:gd name="connsiteY1" fmla="*/ 0 h 1390080"/>
              <a:gd name="connsiteX2" fmla="*/ 4107558 w 4339243"/>
              <a:gd name="connsiteY2" fmla="*/ 0 h 1390080"/>
              <a:gd name="connsiteX3" fmla="*/ 4339243 w 4339243"/>
              <a:gd name="connsiteY3" fmla="*/ 231685 h 1390080"/>
              <a:gd name="connsiteX4" fmla="*/ 4339243 w 4339243"/>
              <a:gd name="connsiteY4" fmla="*/ 1158395 h 1390080"/>
              <a:gd name="connsiteX5" fmla="*/ 4107558 w 4339243"/>
              <a:gd name="connsiteY5" fmla="*/ 1390080 h 1390080"/>
              <a:gd name="connsiteX6" fmla="*/ 231685 w 4339243"/>
              <a:gd name="connsiteY6" fmla="*/ 1390080 h 1390080"/>
              <a:gd name="connsiteX7" fmla="*/ 0 w 4339243"/>
              <a:gd name="connsiteY7" fmla="*/ 1158395 h 1390080"/>
              <a:gd name="connsiteX8" fmla="*/ 0 w 4339243"/>
              <a:gd name="connsiteY8" fmla="*/ 231685 h 139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243" h="1390080">
                <a:moveTo>
                  <a:pt x="0" y="231685"/>
                </a:moveTo>
                <a:cubicBezTo>
                  <a:pt x="0" y="103729"/>
                  <a:pt x="103729" y="0"/>
                  <a:pt x="231685" y="0"/>
                </a:cubicBezTo>
                <a:lnTo>
                  <a:pt x="4107558" y="0"/>
                </a:lnTo>
                <a:cubicBezTo>
                  <a:pt x="4235514" y="0"/>
                  <a:pt x="4339243" y="103729"/>
                  <a:pt x="4339243" y="231685"/>
                </a:cubicBezTo>
                <a:lnTo>
                  <a:pt x="4339243" y="1158395"/>
                </a:lnTo>
                <a:cubicBezTo>
                  <a:pt x="4339243" y="1286351"/>
                  <a:pt x="4235514" y="1390080"/>
                  <a:pt x="4107558" y="1390080"/>
                </a:cubicBezTo>
                <a:lnTo>
                  <a:pt x="231685" y="1390080"/>
                </a:lnTo>
                <a:cubicBezTo>
                  <a:pt x="103729" y="1390080"/>
                  <a:pt x="0" y="1286351"/>
                  <a:pt x="0" y="1158395"/>
                </a:cubicBezTo>
                <a:lnTo>
                  <a:pt x="0" y="2316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6448" tIns="142153" rIns="216448" bIns="142153" numCol="1" spcCol="1270" anchor="ctr" anchorCtr="0">
            <a:noAutofit/>
          </a:bodyPr>
          <a:lstStyle/>
          <a:p>
            <a:pPr marL="0" lvl="0" indent="0" algn="l" defTabSz="1733550">
              <a:lnSpc>
                <a:spcPct val="90000"/>
              </a:lnSpc>
              <a:spcBef>
                <a:spcPct val="0"/>
              </a:spcBef>
              <a:spcAft>
                <a:spcPct val="35000"/>
              </a:spcAft>
              <a:buNone/>
            </a:pPr>
            <a:r>
              <a:rPr lang="en-US" sz="3900" kern="1200" dirty="0">
                <a:hlinkClick r:id="rId6"/>
              </a:rPr>
              <a:t>Download</a:t>
            </a:r>
            <a:endParaRPr lang="en-US" sz="3900" kern="1200" dirty="0"/>
          </a:p>
        </p:txBody>
      </p:sp>
      <p:sp>
        <p:nvSpPr>
          <p:cNvPr id="14" name="Freeform: Shape 13">
            <a:extLst>
              <a:ext uri="{FF2B5EF4-FFF2-40B4-BE49-F238E27FC236}">
                <a16:creationId xmlns:a16="http://schemas.microsoft.com/office/drawing/2014/main" id="{70D541DE-6056-1896-8634-8801E99D0F9E}"/>
              </a:ext>
            </a:extLst>
          </p:cNvPr>
          <p:cNvSpPr/>
          <p:nvPr/>
        </p:nvSpPr>
        <p:spPr>
          <a:xfrm>
            <a:off x="4403896" y="2291167"/>
            <a:ext cx="7714212" cy="1112065"/>
          </a:xfrm>
          <a:custGeom>
            <a:avLst/>
            <a:gdLst>
              <a:gd name="connsiteX0" fmla="*/ 185348 w 1112064"/>
              <a:gd name="connsiteY0" fmla="*/ 0 h 7714211"/>
              <a:gd name="connsiteX1" fmla="*/ 926716 w 1112064"/>
              <a:gd name="connsiteY1" fmla="*/ 0 h 7714211"/>
              <a:gd name="connsiteX2" fmla="*/ 1112064 w 1112064"/>
              <a:gd name="connsiteY2" fmla="*/ 185348 h 7714211"/>
              <a:gd name="connsiteX3" fmla="*/ 1112064 w 1112064"/>
              <a:gd name="connsiteY3" fmla="*/ 7714211 h 7714211"/>
              <a:gd name="connsiteX4" fmla="*/ 1112064 w 1112064"/>
              <a:gd name="connsiteY4" fmla="*/ 7714211 h 7714211"/>
              <a:gd name="connsiteX5" fmla="*/ 0 w 1112064"/>
              <a:gd name="connsiteY5" fmla="*/ 7714211 h 7714211"/>
              <a:gd name="connsiteX6" fmla="*/ 0 w 1112064"/>
              <a:gd name="connsiteY6" fmla="*/ 7714211 h 7714211"/>
              <a:gd name="connsiteX7" fmla="*/ 0 w 1112064"/>
              <a:gd name="connsiteY7" fmla="*/ 185348 h 7714211"/>
              <a:gd name="connsiteX8" fmla="*/ 185348 w 1112064"/>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2064" h="7714211">
                <a:moveTo>
                  <a:pt x="1112064" y="1285732"/>
                </a:moveTo>
                <a:lnTo>
                  <a:pt x="1112064" y="6428479"/>
                </a:lnTo>
                <a:cubicBezTo>
                  <a:pt x="1112064" y="7138568"/>
                  <a:pt x="1100101" y="7714208"/>
                  <a:pt x="1085345" y="7714208"/>
                </a:cubicBezTo>
                <a:lnTo>
                  <a:pt x="0" y="7714208"/>
                </a:lnTo>
                <a:lnTo>
                  <a:pt x="0" y="7714208"/>
                </a:lnTo>
                <a:lnTo>
                  <a:pt x="0" y="3"/>
                </a:lnTo>
                <a:lnTo>
                  <a:pt x="0" y="3"/>
                </a:lnTo>
                <a:lnTo>
                  <a:pt x="1085345" y="3"/>
                </a:lnTo>
                <a:cubicBezTo>
                  <a:pt x="1100101" y="3"/>
                  <a:pt x="1112064" y="575643"/>
                  <a:pt x="1112064" y="1285732"/>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8111" tIns="113341" rIns="172396" bIns="113342" numCol="1" spcCol="1270" anchor="ctr" anchorCtr="0">
            <a:noAutofit/>
          </a:bodyPr>
          <a:lstStyle/>
          <a:p>
            <a:pPr marL="285750" lvl="1" indent="-285750" algn="l" defTabSz="1377950">
              <a:lnSpc>
                <a:spcPct val="90000"/>
              </a:lnSpc>
              <a:spcBef>
                <a:spcPct val="0"/>
              </a:spcBef>
              <a:spcAft>
                <a:spcPct val="15000"/>
              </a:spcAft>
              <a:buChar char="•"/>
            </a:pPr>
            <a:r>
              <a:rPr lang="en-US" sz="3100" kern="1200"/>
              <a:t>Video Exported from PowerPoint</a:t>
            </a:r>
          </a:p>
        </p:txBody>
      </p:sp>
      <p:sp>
        <p:nvSpPr>
          <p:cNvPr id="15" name="Freeform: Shape 14">
            <a:extLst>
              <a:ext uri="{FF2B5EF4-FFF2-40B4-BE49-F238E27FC236}">
                <a16:creationId xmlns:a16="http://schemas.microsoft.com/office/drawing/2014/main" id="{6D7A4161-BBC9-1F01-A3DE-DBBFE19C093B}"/>
              </a:ext>
            </a:extLst>
          </p:cNvPr>
          <p:cNvSpPr/>
          <p:nvPr/>
        </p:nvSpPr>
        <p:spPr>
          <a:xfrm>
            <a:off x="64653" y="2152159"/>
            <a:ext cx="4339243" cy="1390080"/>
          </a:xfrm>
          <a:custGeom>
            <a:avLst/>
            <a:gdLst>
              <a:gd name="connsiteX0" fmla="*/ 0 w 4339243"/>
              <a:gd name="connsiteY0" fmla="*/ 231685 h 1390080"/>
              <a:gd name="connsiteX1" fmla="*/ 231685 w 4339243"/>
              <a:gd name="connsiteY1" fmla="*/ 0 h 1390080"/>
              <a:gd name="connsiteX2" fmla="*/ 4107558 w 4339243"/>
              <a:gd name="connsiteY2" fmla="*/ 0 h 1390080"/>
              <a:gd name="connsiteX3" fmla="*/ 4339243 w 4339243"/>
              <a:gd name="connsiteY3" fmla="*/ 231685 h 1390080"/>
              <a:gd name="connsiteX4" fmla="*/ 4339243 w 4339243"/>
              <a:gd name="connsiteY4" fmla="*/ 1158395 h 1390080"/>
              <a:gd name="connsiteX5" fmla="*/ 4107558 w 4339243"/>
              <a:gd name="connsiteY5" fmla="*/ 1390080 h 1390080"/>
              <a:gd name="connsiteX6" fmla="*/ 231685 w 4339243"/>
              <a:gd name="connsiteY6" fmla="*/ 1390080 h 1390080"/>
              <a:gd name="connsiteX7" fmla="*/ 0 w 4339243"/>
              <a:gd name="connsiteY7" fmla="*/ 1158395 h 1390080"/>
              <a:gd name="connsiteX8" fmla="*/ 0 w 4339243"/>
              <a:gd name="connsiteY8" fmla="*/ 231685 h 139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243" h="1390080">
                <a:moveTo>
                  <a:pt x="0" y="231685"/>
                </a:moveTo>
                <a:cubicBezTo>
                  <a:pt x="0" y="103729"/>
                  <a:pt x="103729" y="0"/>
                  <a:pt x="231685" y="0"/>
                </a:cubicBezTo>
                <a:lnTo>
                  <a:pt x="4107558" y="0"/>
                </a:lnTo>
                <a:cubicBezTo>
                  <a:pt x="4235514" y="0"/>
                  <a:pt x="4339243" y="103729"/>
                  <a:pt x="4339243" y="231685"/>
                </a:cubicBezTo>
                <a:lnTo>
                  <a:pt x="4339243" y="1158395"/>
                </a:lnTo>
                <a:cubicBezTo>
                  <a:pt x="4339243" y="1286351"/>
                  <a:pt x="4235514" y="1390080"/>
                  <a:pt x="4107558" y="1390080"/>
                </a:cubicBezTo>
                <a:lnTo>
                  <a:pt x="231685" y="1390080"/>
                </a:lnTo>
                <a:cubicBezTo>
                  <a:pt x="103729" y="1390080"/>
                  <a:pt x="0" y="1286351"/>
                  <a:pt x="0" y="1158395"/>
                </a:cubicBezTo>
                <a:lnTo>
                  <a:pt x="0" y="2316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6448" tIns="142153" rIns="216448" bIns="142153" numCol="1" spcCol="1270" anchor="ctr" anchorCtr="0">
            <a:noAutofit/>
          </a:bodyPr>
          <a:lstStyle/>
          <a:p>
            <a:pPr marL="0" lvl="0" indent="0" algn="l" defTabSz="1733550">
              <a:lnSpc>
                <a:spcPct val="90000"/>
              </a:lnSpc>
              <a:spcBef>
                <a:spcPct val="0"/>
              </a:spcBef>
              <a:spcAft>
                <a:spcPct val="35000"/>
              </a:spcAft>
              <a:buNone/>
            </a:pPr>
            <a:r>
              <a:rPr lang="en-US" sz="3900" kern="1200" dirty="0">
                <a:hlinkClick r:id="rId7"/>
              </a:rPr>
              <a:t>Watch</a:t>
            </a:r>
            <a:r>
              <a:rPr lang="en-US" sz="3900" kern="1200" dirty="0"/>
              <a:t> on </a:t>
            </a:r>
          </a:p>
        </p:txBody>
      </p:sp>
      <p:sp>
        <p:nvSpPr>
          <p:cNvPr id="16" name="Freeform: Shape 15">
            <a:extLst>
              <a:ext uri="{FF2B5EF4-FFF2-40B4-BE49-F238E27FC236}">
                <a16:creationId xmlns:a16="http://schemas.microsoft.com/office/drawing/2014/main" id="{873B4ED2-FE0B-1D39-E243-4E32F42BE738}"/>
              </a:ext>
            </a:extLst>
          </p:cNvPr>
          <p:cNvSpPr/>
          <p:nvPr/>
        </p:nvSpPr>
        <p:spPr>
          <a:xfrm>
            <a:off x="4403896" y="3750752"/>
            <a:ext cx="7714212" cy="1112065"/>
          </a:xfrm>
          <a:custGeom>
            <a:avLst/>
            <a:gdLst>
              <a:gd name="connsiteX0" fmla="*/ 185348 w 1112064"/>
              <a:gd name="connsiteY0" fmla="*/ 0 h 7714211"/>
              <a:gd name="connsiteX1" fmla="*/ 926716 w 1112064"/>
              <a:gd name="connsiteY1" fmla="*/ 0 h 7714211"/>
              <a:gd name="connsiteX2" fmla="*/ 1112064 w 1112064"/>
              <a:gd name="connsiteY2" fmla="*/ 185348 h 7714211"/>
              <a:gd name="connsiteX3" fmla="*/ 1112064 w 1112064"/>
              <a:gd name="connsiteY3" fmla="*/ 7714211 h 7714211"/>
              <a:gd name="connsiteX4" fmla="*/ 1112064 w 1112064"/>
              <a:gd name="connsiteY4" fmla="*/ 7714211 h 7714211"/>
              <a:gd name="connsiteX5" fmla="*/ 0 w 1112064"/>
              <a:gd name="connsiteY5" fmla="*/ 7714211 h 7714211"/>
              <a:gd name="connsiteX6" fmla="*/ 0 w 1112064"/>
              <a:gd name="connsiteY6" fmla="*/ 7714211 h 7714211"/>
              <a:gd name="connsiteX7" fmla="*/ 0 w 1112064"/>
              <a:gd name="connsiteY7" fmla="*/ 185348 h 7714211"/>
              <a:gd name="connsiteX8" fmla="*/ 185348 w 1112064"/>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2064" h="7714211">
                <a:moveTo>
                  <a:pt x="1112064" y="1285732"/>
                </a:moveTo>
                <a:lnTo>
                  <a:pt x="1112064" y="6428479"/>
                </a:lnTo>
                <a:cubicBezTo>
                  <a:pt x="1112064" y="7138568"/>
                  <a:pt x="1100101" y="7714208"/>
                  <a:pt x="1085345" y="7714208"/>
                </a:cubicBezTo>
                <a:lnTo>
                  <a:pt x="0" y="7714208"/>
                </a:lnTo>
                <a:lnTo>
                  <a:pt x="0" y="7714208"/>
                </a:lnTo>
                <a:lnTo>
                  <a:pt x="0" y="3"/>
                </a:lnTo>
                <a:lnTo>
                  <a:pt x="0" y="3"/>
                </a:lnTo>
                <a:lnTo>
                  <a:pt x="1085345" y="3"/>
                </a:lnTo>
                <a:cubicBezTo>
                  <a:pt x="1100101" y="3"/>
                  <a:pt x="1112064" y="575643"/>
                  <a:pt x="1112064" y="1285732"/>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8111" tIns="113341" rIns="172396" bIns="113342" numCol="1" spcCol="1270" anchor="ctr" anchorCtr="0">
            <a:noAutofit/>
          </a:bodyPr>
          <a:lstStyle/>
          <a:p>
            <a:pPr marL="285750" lvl="1" indent="-285750" algn="l" defTabSz="1377950">
              <a:lnSpc>
                <a:spcPct val="90000"/>
              </a:lnSpc>
              <a:spcBef>
                <a:spcPct val="0"/>
              </a:spcBef>
              <a:spcAft>
                <a:spcPct val="15000"/>
              </a:spcAft>
              <a:buChar char="•"/>
            </a:pPr>
            <a:r>
              <a:rPr lang="en-US" sz="3100" kern="1200"/>
              <a:t>Download and Run the Slide Show with Narrations</a:t>
            </a:r>
          </a:p>
        </p:txBody>
      </p:sp>
      <p:sp>
        <p:nvSpPr>
          <p:cNvPr id="17" name="Freeform: Shape 16">
            <a:extLst>
              <a:ext uri="{FF2B5EF4-FFF2-40B4-BE49-F238E27FC236}">
                <a16:creationId xmlns:a16="http://schemas.microsoft.com/office/drawing/2014/main" id="{C7F182B6-1A0E-169B-402C-33DB3D3EA7FF}"/>
              </a:ext>
            </a:extLst>
          </p:cNvPr>
          <p:cNvSpPr/>
          <p:nvPr/>
        </p:nvSpPr>
        <p:spPr>
          <a:xfrm>
            <a:off x="64653" y="3611744"/>
            <a:ext cx="4339243" cy="1390080"/>
          </a:xfrm>
          <a:custGeom>
            <a:avLst/>
            <a:gdLst>
              <a:gd name="connsiteX0" fmla="*/ 0 w 4339243"/>
              <a:gd name="connsiteY0" fmla="*/ 231685 h 1390080"/>
              <a:gd name="connsiteX1" fmla="*/ 231685 w 4339243"/>
              <a:gd name="connsiteY1" fmla="*/ 0 h 1390080"/>
              <a:gd name="connsiteX2" fmla="*/ 4107558 w 4339243"/>
              <a:gd name="connsiteY2" fmla="*/ 0 h 1390080"/>
              <a:gd name="connsiteX3" fmla="*/ 4339243 w 4339243"/>
              <a:gd name="connsiteY3" fmla="*/ 231685 h 1390080"/>
              <a:gd name="connsiteX4" fmla="*/ 4339243 w 4339243"/>
              <a:gd name="connsiteY4" fmla="*/ 1158395 h 1390080"/>
              <a:gd name="connsiteX5" fmla="*/ 4107558 w 4339243"/>
              <a:gd name="connsiteY5" fmla="*/ 1390080 h 1390080"/>
              <a:gd name="connsiteX6" fmla="*/ 231685 w 4339243"/>
              <a:gd name="connsiteY6" fmla="*/ 1390080 h 1390080"/>
              <a:gd name="connsiteX7" fmla="*/ 0 w 4339243"/>
              <a:gd name="connsiteY7" fmla="*/ 1158395 h 1390080"/>
              <a:gd name="connsiteX8" fmla="*/ 0 w 4339243"/>
              <a:gd name="connsiteY8" fmla="*/ 231685 h 139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243" h="1390080">
                <a:moveTo>
                  <a:pt x="0" y="231685"/>
                </a:moveTo>
                <a:cubicBezTo>
                  <a:pt x="0" y="103729"/>
                  <a:pt x="103729" y="0"/>
                  <a:pt x="231685" y="0"/>
                </a:cubicBezTo>
                <a:lnTo>
                  <a:pt x="4107558" y="0"/>
                </a:lnTo>
                <a:cubicBezTo>
                  <a:pt x="4235514" y="0"/>
                  <a:pt x="4339243" y="103729"/>
                  <a:pt x="4339243" y="231685"/>
                </a:cubicBezTo>
                <a:lnTo>
                  <a:pt x="4339243" y="1158395"/>
                </a:lnTo>
                <a:cubicBezTo>
                  <a:pt x="4339243" y="1286351"/>
                  <a:pt x="4235514" y="1390080"/>
                  <a:pt x="4107558" y="1390080"/>
                </a:cubicBezTo>
                <a:lnTo>
                  <a:pt x="231685" y="1390080"/>
                </a:lnTo>
                <a:cubicBezTo>
                  <a:pt x="103729" y="1390080"/>
                  <a:pt x="0" y="1286351"/>
                  <a:pt x="0" y="1158395"/>
                </a:cubicBezTo>
                <a:lnTo>
                  <a:pt x="0" y="2316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6448" tIns="142153" rIns="216448" bIns="142153" numCol="1" spcCol="1270" anchor="ctr" anchorCtr="0">
            <a:noAutofit/>
          </a:bodyPr>
          <a:lstStyle/>
          <a:p>
            <a:pPr marL="0" lvl="0" indent="0" algn="r" defTabSz="1733550">
              <a:lnSpc>
                <a:spcPct val="90000"/>
              </a:lnSpc>
              <a:spcBef>
                <a:spcPct val="0"/>
              </a:spcBef>
              <a:spcAft>
                <a:spcPct val="35000"/>
              </a:spcAft>
              <a:buNone/>
            </a:pPr>
            <a:r>
              <a:rPr lang="en-US" sz="3900" kern="1200" dirty="0">
                <a:hlinkClick r:id="rId8"/>
              </a:rPr>
              <a:t>Source File</a:t>
            </a:r>
            <a:endParaRPr lang="en-US" sz="3900" kern="1200" dirty="0"/>
          </a:p>
        </p:txBody>
      </p:sp>
      <p:sp>
        <p:nvSpPr>
          <p:cNvPr id="18" name="Freeform: Shape 17">
            <a:extLst>
              <a:ext uri="{FF2B5EF4-FFF2-40B4-BE49-F238E27FC236}">
                <a16:creationId xmlns:a16="http://schemas.microsoft.com/office/drawing/2014/main" id="{3222661A-55DC-454F-7B25-40F3170F75F6}"/>
              </a:ext>
            </a:extLst>
          </p:cNvPr>
          <p:cNvSpPr/>
          <p:nvPr/>
        </p:nvSpPr>
        <p:spPr>
          <a:xfrm>
            <a:off x="4403896" y="5210336"/>
            <a:ext cx="7714212" cy="1112065"/>
          </a:xfrm>
          <a:custGeom>
            <a:avLst/>
            <a:gdLst>
              <a:gd name="connsiteX0" fmla="*/ 185348 w 1112064"/>
              <a:gd name="connsiteY0" fmla="*/ 0 h 7714211"/>
              <a:gd name="connsiteX1" fmla="*/ 926716 w 1112064"/>
              <a:gd name="connsiteY1" fmla="*/ 0 h 7714211"/>
              <a:gd name="connsiteX2" fmla="*/ 1112064 w 1112064"/>
              <a:gd name="connsiteY2" fmla="*/ 185348 h 7714211"/>
              <a:gd name="connsiteX3" fmla="*/ 1112064 w 1112064"/>
              <a:gd name="connsiteY3" fmla="*/ 7714211 h 7714211"/>
              <a:gd name="connsiteX4" fmla="*/ 1112064 w 1112064"/>
              <a:gd name="connsiteY4" fmla="*/ 7714211 h 7714211"/>
              <a:gd name="connsiteX5" fmla="*/ 0 w 1112064"/>
              <a:gd name="connsiteY5" fmla="*/ 7714211 h 7714211"/>
              <a:gd name="connsiteX6" fmla="*/ 0 w 1112064"/>
              <a:gd name="connsiteY6" fmla="*/ 7714211 h 7714211"/>
              <a:gd name="connsiteX7" fmla="*/ 0 w 1112064"/>
              <a:gd name="connsiteY7" fmla="*/ 185348 h 7714211"/>
              <a:gd name="connsiteX8" fmla="*/ 185348 w 1112064"/>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2064" h="7714211">
                <a:moveTo>
                  <a:pt x="1112064" y="1285732"/>
                </a:moveTo>
                <a:lnTo>
                  <a:pt x="1112064" y="6428479"/>
                </a:lnTo>
                <a:cubicBezTo>
                  <a:pt x="1112064" y="7138568"/>
                  <a:pt x="1100101" y="7714208"/>
                  <a:pt x="1085345" y="7714208"/>
                </a:cubicBezTo>
                <a:lnTo>
                  <a:pt x="0" y="7714208"/>
                </a:lnTo>
                <a:lnTo>
                  <a:pt x="0" y="7714208"/>
                </a:lnTo>
                <a:lnTo>
                  <a:pt x="0" y="3"/>
                </a:lnTo>
                <a:lnTo>
                  <a:pt x="0" y="3"/>
                </a:lnTo>
                <a:lnTo>
                  <a:pt x="1085345" y="3"/>
                </a:lnTo>
                <a:cubicBezTo>
                  <a:pt x="1100101" y="3"/>
                  <a:pt x="1112064" y="575643"/>
                  <a:pt x="1112064" y="1285732"/>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8111" tIns="113341" rIns="172396" bIns="113342" numCol="1" spcCol="1270" anchor="ctr" anchorCtr="0">
            <a:noAutofit/>
          </a:bodyPr>
          <a:lstStyle/>
          <a:p>
            <a:pPr marL="285750" lvl="1" indent="-285750" algn="l" defTabSz="1377950">
              <a:lnSpc>
                <a:spcPct val="90000"/>
              </a:lnSpc>
              <a:spcBef>
                <a:spcPct val="0"/>
              </a:spcBef>
              <a:spcAft>
                <a:spcPct val="15000"/>
              </a:spcAft>
              <a:buChar char="•"/>
            </a:pPr>
            <a:r>
              <a:rPr lang="en-US" sz="3100" kern="1200"/>
              <a:t>See how the code and data is structured</a:t>
            </a:r>
          </a:p>
        </p:txBody>
      </p:sp>
      <p:sp>
        <p:nvSpPr>
          <p:cNvPr id="19" name="Freeform: Shape 18">
            <a:extLst>
              <a:ext uri="{FF2B5EF4-FFF2-40B4-BE49-F238E27FC236}">
                <a16:creationId xmlns:a16="http://schemas.microsoft.com/office/drawing/2014/main" id="{3C93DDA8-6DCA-FB08-8B4A-0D484280B143}"/>
              </a:ext>
            </a:extLst>
          </p:cNvPr>
          <p:cNvSpPr/>
          <p:nvPr/>
        </p:nvSpPr>
        <p:spPr>
          <a:xfrm>
            <a:off x="64653" y="5071328"/>
            <a:ext cx="4339243" cy="1390080"/>
          </a:xfrm>
          <a:custGeom>
            <a:avLst/>
            <a:gdLst>
              <a:gd name="connsiteX0" fmla="*/ 0 w 4339243"/>
              <a:gd name="connsiteY0" fmla="*/ 231685 h 1390080"/>
              <a:gd name="connsiteX1" fmla="*/ 231685 w 4339243"/>
              <a:gd name="connsiteY1" fmla="*/ 0 h 1390080"/>
              <a:gd name="connsiteX2" fmla="*/ 4107558 w 4339243"/>
              <a:gd name="connsiteY2" fmla="*/ 0 h 1390080"/>
              <a:gd name="connsiteX3" fmla="*/ 4339243 w 4339243"/>
              <a:gd name="connsiteY3" fmla="*/ 231685 h 1390080"/>
              <a:gd name="connsiteX4" fmla="*/ 4339243 w 4339243"/>
              <a:gd name="connsiteY4" fmla="*/ 1158395 h 1390080"/>
              <a:gd name="connsiteX5" fmla="*/ 4107558 w 4339243"/>
              <a:gd name="connsiteY5" fmla="*/ 1390080 h 1390080"/>
              <a:gd name="connsiteX6" fmla="*/ 231685 w 4339243"/>
              <a:gd name="connsiteY6" fmla="*/ 1390080 h 1390080"/>
              <a:gd name="connsiteX7" fmla="*/ 0 w 4339243"/>
              <a:gd name="connsiteY7" fmla="*/ 1158395 h 1390080"/>
              <a:gd name="connsiteX8" fmla="*/ 0 w 4339243"/>
              <a:gd name="connsiteY8" fmla="*/ 231685 h 139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243" h="1390080">
                <a:moveTo>
                  <a:pt x="0" y="231685"/>
                </a:moveTo>
                <a:cubicBezTo>
                  <a:pt x="0" y="103729"/>
                  <a:pt x="103729" y="0"/>
                  <a:pt x="231685" y="0"/>
                </a:cubicBezTo>
                <a:lnTo>
                  <a:pt x="4107558" y="0"/>
                </a:lnTo>
                <a:cubicBezTo>
                  <a:pt x="4235514" y="0"/>
                  <a:pt x="4339243" y="103729"/>
                  <a:pt x="4339243" y="231685"/>
                </a:cubicBezTo>
                <a:lnTo>
                  <a:pt x="4339243" y="1158395"/>
                </a:lnTo>
                <a:cubicBezTo>
                  <a:pt x="4339243" y="1286351"/>
                  <a:pt x="4235514" y="1390080"/>
                  <a:pt x="4107558" y="1390080"/>
                </a:cubicBezTo>
                <a:lnTo>
                  <a:pt x="231685" y="1390080"/>
                </a:lnTo>
                <a:cubicBezTo>
                  <a:pt x="103729" y="1390080"/>
                  <a:pt x="0" y="1286351"/>
                  <a:pt x="0" y="1158395"/>
                </a:cubicBezTo>
                <a:lnTo>
                  <a:pt x="0" y="2316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6448" tIns="142153" rIns="216448" bIns="142153" numCol="1" spcCol="1270" anchor="ctr" anchorCtr="0">
            <a:noAutofit/>
          </a:bodyPr>
          <a:lstStyle/>
          <a:p>
            <a:pPr marL="0" lvl="0" indent="0" algn="ctr" defTabSz="1733550">
              <a:lnSpc>
                <a:spcPct val="90000"/>
              </a:lnSpc>
              <a:spcBef>
                <a:spcPct val="0"/>
              </a:spcBef>
              <a:spcAft>
                <a:spcPct val="35000"/>
              </a:spcAft>
              <a:buNone/>
            </a:pPr>
            <a:r>
              <a:rPr lang="en-US" sz="3900" kern="1200" dirty="0">
                <a:hlinkClick r:id="rId9"/>
              </a:rPr>
              <a:t>Source Repository</a:t>
            </a:r>
            <a:r>
              <a:rPr lang="en-US" sz="3900" kern="1200" dirty="0"/>
              <a:t> on GitHub</a:t>
            </a:r>
          </a:p>
        </p:txBody>
      </p:sp>
      <p:pic>
        <p:nvPicPr>
          <p:cNvPr id="6" name="Content Placeholder 17" descr="A close up of a sign&#10;&#10;Description automatically generated">
            <a:extLst>
              <a:ext uri="{FF2B5EF4-FFF2-40B4-BE49-F238E27FC236}">
                <a16:creationId xmlns:a16="http://schemas.microsoft.com/office/drawing/2014/main" id="{DB0A5AC7-BA93-30A2-BD94-9CAE81833895}"/>
              </a:ext>
            </a:extLst>
          </p:cNvPr>
          <p:cNvPicPr>
            <a:picLocks noChangeAspect="1"/>
          </p:cNvPicPr>
          <p:nvPr/>
        </p:nvPicPr>
        <p:blipFill>
          <a:blip r:embed="rId10"/>
          <a:stretch>
            <a:fillRect/>
          </a:stretch>
        </p:blipFill>
        <p:spPr>
          <a:xfrm>
            <a:off x="10205381" y="-24880"/>
            <a:ext cx="1996606" cy="885994"/>
          </a:xfrm>
          <a:prstGeom prst="rect">
            <a:avLst/>
          </a:prstGeom>
        </p:spPr>
      </p:pic>
      <p:pic>
        <p:nvPicPr>
          <p:cNvPr id="9" name="WatchYouTubePicture" descr="http://www.logospike.com/wp-content/uploads/2014/11/Youtube_logo-4.png">
            <a:hlinkClick r:id="rId7"/>
            <a:extLst>
              <a:ext uri="{FF2B5EF4-FFF2-40B4-BE49-F238E27FC236}">
                <a16:creationId xmlns:a16="http://schemas.microsoft.com/office/drawing/2014/main" id="{7676A3DE-6B94-4FBE-F16A-73D840280ED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13991" y="2446030"/>
            <a:ext cx="1945760" cy="76432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GitHub Logos And Usage · GitHub, 54% OFF">
            <a:hlinkClick r:id="rId9"/>
            <a:extLst>
              <a:ext uri="{FF2B5EF4-FFF2-40B4-BE49-F238E27FC236}">
                <a16:creationId xmlns:a16="http://schemas.microsoft.com/office/drawing/2014/main" id="{E70158F2-E7E9-41DE-EFA8-FB6518922BE6}"/>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4726" b="23462"/>
          <a:stretch/>
        </p:blipFill>
        <p:spPr bwMode="auto">
          <a:xfrm>
            <a:off x="1855988" y="5785588"/>
            <a:ext cx="1758069" cy="506053"/>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dobe-pdf-icon-logo-png-transparent - BioChek, A Hygiena® Company">
            <a:hlinkClick r:id="rId6"/>
            <a:extLst>
              <a:ext uri="{FF2B5EF4-FFF2-40B4-BE49-F238E27FC236}">
                <a16:creationId xmlns:a16="http://schemas.microsoft.com/office/drawing/2014/main" id="{CB0BD434-886E-0E24-2EED-5F143302DBE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28415" y="787600"/>
            <a:ext cx="1122492" cy="118013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Designing and Delivering PowerPoint Presentations - Center for Teaching  Excellence | University of South Carolina">
            <a:hlinkClick r:id="rId8"/>
            <a:extLst>
              <a:ext uri="{FF2B5EF4-FFF2-40B4-BE49-F238E27FC236}">
                <a16:creationId xmlns:a16="http://schemas.microsoft.com/office/drawing/2014/main" id="{49766B56-F673-E7FD-1F13-CC0FE86431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36994" y="3922919"/>
            <a:ext cx="1806305" cy="7663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Rounded Corners 6">
            <a:extLst>
              <a:ext uri="{FF2B5EF4-FFF2-40B4-BE49-F238E27FC236}">
                <a16:creationId xmlns:a16="http://schemas.microsoft.com/office/drawing/2014/main" id="{DEBF19F4-C612-E18B-7974-492FF050412C}"/>
              </a:ext>
            </a:extLst>
          </p:cNvPr>
          <p:cNvSpPr/>
          <p:nvPr/>
        </p:nvSpPr>
        <p:spPr>
          <a:xfrm>
            <a:off x="7170821" y="4575955"/>
            <a:ext cx="4713476" cy="851738"/>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hlinkClick r:id="rId15"/>
              </a:rPr>
              <a:t>John@MultimodalSlides.com</a:t>
            </a:r>
            <a:endParaRPr lang="en-US" sz="2800" dirty="0"/>
          </a:p>
        </p:txBody>
      </p:sp>
      <p:pic>
        <p:nvPicPr>
          <p:cNvPr id="31" name="Audio 30">
            <a:hlinkClick r:id="" action="ppaction://media"/>
            <a:extLst>
              <a:ext uri="{FF2B5EF4-FFF2-40B4-BE49-F238E27FC236}">
                <a16:creationId xmlns:a16="http://schemas.microsoft.com/office/drawing/2014/main" id="{D016E845-B28E-7B6C-04F7-4C9FC11A3095}"/>
              </a:ext>
            </a:extLst>
          </p:cNvPr>
          <p:cNvPicPr>
            <a:picLocks noChangeAspect="1"/>
          </p:cNvPicPr>
          <p:nvPr>
            <a:audioFile r:link="rId3"/>
            <p:extLst>
              <p:ext uri="{DAA4B4D4-6D71-4841-9C94-3DE7FCFB9230}">
                <p14:media xmlns:p14="http://schemas.microsoft.com/office/powerpoint/2010/main" r:embed="rId2"/>
              </p:ext>
            </p:extLst>
          </p:nvPr>
        </p:nvPicPr>
        <p:blipFill>
          <a:blip r:embed="rId16"/>
          <a:srcRect l="-118750" t="-118750" r="-118750" b="-118750"/>
          <a:stretch>
            <a:fillRect/>
          </a:stretch>
        </p:blipFill>
        <p:spPr>
          <a:xfrm>
            <a:off x="11656400" y="6322400"/>
            <a:ext cx="453303" cy="453303"/>
          </a:xfrm>
          <a:prstGeom prst="ellipse">
            <a:avLst/>
          </a:prstGeom>
        </p:spPr>
      </p:pic>
    </p:spTree>
    <p:custDataLst>
      <p:tags r:id="rId1"/>
    </p:custDataLst>
    <p:extLst>
      <p:ext uri="{BB962C8B-B14F-4D97-AF65-F5344CB8AC3E}">
        <p14:creationId xmlns:p14="http://schemas.microsoft.com/office/powerpoint/2010/main" val="2180654885"/>
      </p:ext>
    </p:extLst>
  </p:cSld>
  <p:clrMapOvr>
    <a:masterClrMapping/>
  </p:clrMapOvr>
  <mc:AlternateContent xmlns:mc="http://schemas.openxmlformats.org/markup-compatibility/2006">
    <mc:Choice xmlns:p14="http://schemas.microsoft.com/office/powerpoint/2010/main" Requires="p14">
      <p:transition spd="slow" p14:dur="2000" advTm="24066"/>
    </mc:Choice>
    <mc:Fallback>
      <p:transition spd="slow" advTm="2406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1"/>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0" presetClass="entr" presetSubtype="0" fill="hold" nodeType="withEffect">
                                  <p:stCondLst>
                                    <p:cond delay="0"/>
                                  </p:stCondLst>
                                  <p:childTnLst>
                                    <p:set>
                                      <p:cBhvr>
                                        <p:cTn id="16" dur="1" fill="hold">
                                          <p:stCondLst>
                                            <p:cond delay="0"/>
                                          </p:stCondLst>
                                        </p:cTn>
                                        <p:tgtEl>
                                          <p:spTgt spid="2058"/>
                                        </p:tgtEl>
                                        <p:attrNameLst>
                                          <p:attrName>style.visibility</p:attrName>
                                        </p:attrNameLst>
                                      </p:cBhvr>
                                      <p:to>
                                        <p:strVal val="visible"/>
                                      </p:to>
                                    </p:set>
                                    <p:animEffect transition="in" filter="fade">
                                      <p:cBhvr>
                                        <p:cTn id="17" dur="500"/>
                                        <p:tgtEl>
                                          <p:spTgt spid="20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par>
                                <p:cTn id="26" presetID="10" presetClass="entr" presetSubtype="0" fill="hold"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500"/>
                                        <p:tgtEl>
                                          <p:spTgt spid="17"/>
                                        </p:tgtEl>
                                      </p:cBhvr>
                                    </p:animEffect>
                                  </p:childTnLst>
                                </p:cTn>
                              </p:par>
                              <p:par>
                                <p:cTn id="37" presetID="10" presetClass="entr" presetSubtype="0"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par>
                                <p:cTn id="48" presetID="10" presetClass="entr" presetSubtype="0" fill="hold" nodeType="withEffect">
                                  <p:stCondLst>
                                    <p:cond delay="0"/>
                                  </p:stCondLst>
                                  <p:childTnLst>
                                    <p:set>
                                      <p:cBhvr>
                                        <p:cTn id="49" dur="1" fill="hold">
                                          <p:stCondLst>
                                            <p:cond delay="0"/>
                                          </p:stCondLst>
                                        </p:cTn>
                                        <p:tgtEl>
                                          <p:spTgt spid="2056"/>
                                        </p:tgtEl>
                                        <p:attrNameLst>
                                          <p:attrName>style.visibility</p:attrName>
                                        </p:attrNameLst>
                                      </p:cBhvr>
                                      <p:to>
                                        <p:strVal val="visible"/>
                                      </p:to>
                                    </p:set>
                                    <p:animEffect transition="in" filter="fade">
                                      <p:cBhvr>
                                        <p:cTn id="50" dur="500"/>
                                        <p:tgtEl>
                                          <p:spTgt spid="2056"/>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56" fill="hold" display="0">
                  <p:stCondLst>
                    <p:cond delay="indefinite"/>
                  </p:stCondLst>
                  <p:endCondLst>
                    <p:cond evt="onStopAudio" delay="0">
                      <p:tgtEl>
                        <p:sldTgt/>
                      </p:tgtEl>
                    </p:cond>
                  </p:endCondLst>
                </p:cTn>
                <p:tgtEl>
                  <p:spTgt spid="31"/>
                </p:tgtEl>
              </p:cMediaNode>
            </p:audio>
          </p:childTnLst>
        </p:cTn>
      </p:par>
    </p:tnLst>
    <p:bldLst>
      <p:bldP spid="12" grpId="0" animBg="1" autoUpdateAnimBg="0"/>
      <p:bldP spid="13" grpId="0" animBg="1" autoUpdateAnimBg="0"/>
      <p:bldP spid="14" grpId="0" animBg="1" autoUpdateAnimBg="0"/>
      <p:bldP spid="15" grpId="0" animBg="1" autoUpdateAnimBg="0"/>
      <p:bldP spid="16" grpId="0" animBg="1" autoUpdateAnimBg="0"/>
      <p:bldP spid="17" grpId="0" animBg="1" autoUpdateAnimBg="0"/>
      <p:bldP spid="18" grpId="0" animBg="1" autoUpdateAnimBg="0"/>
      <p:bldP spid="19" grpId="0" animBg="1" autoUpdateAnimBg="0"/>
      <p:bldP spid="7" grpId="0" animBg="1"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tionNameTextPlaceholder">
            <a:extLst>
              <a:ext uri="{FF2B5EF4-FFF2-40B4-BE49-F238E27FC236}">
                <a16:creationId xmlns:a16="http://schemas.microsoft.com/office/drawing/2014/main" id="{C0E43BF0-C844-4F54-EE39-F4DF1B103726}"/>
              </a:ext>
            </a:extLst>
          </p:cNvPr>
          <p:cNvSpPr>
            <a:spLocks noGrp="1"/>
          </p:cNvSpPr>
          <p:nvPr>
            <p:ph type="body" idx="1"/>
          </p:nvPr>
        </p:nvSpPr>
        <p:spPr/>
        <p:txBody>
          <a:bodyPr>
            <a:normAutofit/>
          </a:bodyPr>
          <a:lstStyle/>
          <a:p>
            <a:r>
              <a:rPr lang="en-US" dirty="0"/>
              <a:t>Text-to-Speech with Eric - a Male Voice</a:t>
            </a:r>
          </a:p>
        </p:txBody>
      </p:sp>
      <p:sp>
        <p:nvSpPr>
          <p:cNvPr id="4" name="Title 3">
            <a:extLst>
              <a:ext uri="{FF2B5EF4-FFF2-40B4-BE49-F238E27FC236}">
                <a16:creationId xmlns:a16="http://schemas.microsoft.com/office/drawing/2014/main" id="{9E675B2D-EA61-4115-099D-7786F65D9C67}"/>
              </a:ext>
            </a:extLst>
          </p:cNvPr>
          <p:cNvSpPr>
            <a:spLocks noGrp="1"/>
          </p:cNvSpPr>
          <p:nvPr>
            <p:ph type="title"/>
          </p:nvPr>
        </p:nvSpPr>
        <p:spPr/>
        <p:txBody>
          <a:bodyPr/>
          <a:lstStyle/>
          <a:p>
            <a:r>
              <a:rPr lang="en-US" dirty="0"/>
              <a:t>What is Multimodal Content?</a:t>
            </a:r>
          </a:p>
        </p:txBody>
      </p:sp>
      <p:sp>
        <p:nvSpPr>
          <p:cNvPr id="7" name="Text Placeholder 6">
            <a:extLst>
              <a:ext uri="{FF2B5EF4-FFF2-40B4-BE49-F238E27FC236}">
                <a16:creationId xmlns:a16="http://schemas.microsoft.com/office/drawing/2014/main" id="{7D42E2C3-8EA1-ACBD-AEA4-55715457DB86}"/>
              </a:ext>
            </a:extLst>
          </p:cNvPr>
          <p:cNvSpPr>
            <a:spLocks noGrp="1"/>
          </p:cNvSpPr>
          <p:nvPr>
            <p:ph type="body" sz="quarter" idx="3"/>
          </p:nvPr>
        </p:nvSpPr>
        <p:spPr/>
        <p:txBody>
          <a:bodyPr/>
          <a:lstStyle/>
          <a:p>
            <a:endParaRPr lang="en-US"/>
          </a:p>
        </p:txBody>
      </p:sp>
      <p:sp>
        <p:nvSpPr>
          <p:cNvPr id="11" name="Rectangle: Rounded Corners 10">
            <a:extLst>
              <a:ext uri="{FF2B5EF4-FFF2-40B4-BE49-F238E27FC236}">
                <a16:creationId xmlns:a16="http://schemas.microsoft.com/office/drawing/2014/main" id="{50BBD19E-022A-97CC-09E8-BBA18B239CC2}"/>
              </a:ext>
            </a:extLst>
          </p:cNvPr>
          <p:cNvSpPr/>
          <p:nvPr/>
        </p:nvSpPr>
        <p:spPr>
          <a:xfrm>
            <a:off x="8669215" y="1"/>
            <a:ext cx="3522785" cy="149501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algn="ctr"/>
            <a:r>
              <a:rPr lang="en-US" sz="2800" dirty="0"/>
              <a:t>Multimodal Content</a:t>
            </a:r>
          </a:p>
        </p:txBody>
      </p:sp>
      <p:pic>
        <p:nvPicPr>
          <p:cNvPr id="12" name="Graphic 11" descr="Document with solid fill">
            <a:extLst>
              <a:ext uri="{FF2B5EF4-FFF2-40B4-BE49-F238E27FC236}">
                <a16:creationId xmlns:a16="http://schemas.microsoft.com/office/drawing/2014/main" id="{C5D4DD54-776C-5311-5786-E8A1A9D265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37963" y="570546"/>
            <a:ext cx="477000" cy="477159"/>
          </a:xfrm>
          <a:prstGeom prst="rect">
            <a:avLst/>
          </a:prstGeom>
        </p:spPr>
      </p:pic>
      <p:pic>
        <p:nvPicPr>
          <p:cNvPr id="13" name="Graphic 12" descr="Volume with solid fill">
            <a:extLst>
              <a:ext uri="{FF2B5EF4-FFF2-40B4-BE49-F238E27FC236}">
                <a16:creationId xmlns:a16="http://schemas.microsoft.com/office/drawing/2014/main" id="{8DE8A68E-21DD-BD7F-DF9C-6EF8763B6AE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44751" y="570546"/>
            <a:ext cx="477000" cy="477159"/>
          </a:xfrm>
          <a:prstGeom prst="rect">
            <a:avLst/>
          </a:prstGeom>
        </p:spPr>
      </p:pic>
      <p:pic>
        <p:nvPicPr>
          <p:cNvPr id="14" name="Graphic 13" descr="Eye with solid fill">
            <a:extLst>
              <a:ext uri="{FF2B5EF4-FFF2-40B4-BE49-F238E27FC236}">
                <a16:creationId xmlns:a16="http://schemas.microsoft.com/office/drawing/2014/main" id="{CF1A30DA-9B5E-BCA5-73FC-0023100892D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157352" y="570546"/>
            <a:ext cx="477000" cy="477159"/>
          </a:xfrm>
          <a:prstGeom prst="rect">
            <a:avLst/>
          </a:prstGeom>
        </p:spPr>
      </p:pic>
      <p:sp>
        <p:nvSpPr>
          <p:cNvPr id="15" name="Rectangle 14">
            <a:extLst>
              <a:ext uri="{FF2B5EF4-FFF2-40B4-BE49-F238E27FC236}">
                <a16:creationId xmlns:a16="http://schemas.microsoft.com/office/drawing/2014/main" id="{9324571A-1110-0D99-DF9A-F5ADA9D786D1}"/>
              </a:ext>
            </a:extLst>
          </p:cNvPr>
          <p:cNvSpPr/>
          <p:nvPr/>
        </p:nvSpPr>
        <p:spPr>
          <a:xfrm>
            <a:off x="9061485" y="1047705"/>
            <a:ext cx="790307" cy="31369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Read</a:t>
            </a:r>
          </a:p>
        </p:txBody>
      </p:sp>
      <p:sp>
        <p:nvSpPr>
          <p:cNvPr id="16" name="Rectangle 15">
            <a:extLst>
              <a:ext uri="{FF2B5EF4-FFF2-40B4-BE49-F238E27FC236}">
                <a16:creationId xmlns:a16="http://schemas.microsoft.com/office/drawing/2014/main" id="{A01DBE72-DA2D-E5E6-BA8F-23ABFE6B363A}"/>
              </a:ext>
            </a:extLst>
          </p:cNvPr>
          <p:cNvSpPr/>
          <p:nvPr/>
        </p:nvSpPr>
        <p:spPr>
          <a:xfrm>
            <a:off x="10046554" y="1047705"/>
            <a:ext cx="790307" cy="31369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Listen</a:t>
            </a:r>
          </a:p>
        </p:txBody>
      </p:sp>
      <p:sp>
        <p:nvSpPr>
          <p:cNvPr id="17" name="Rectangle 16">
            <a:extLst>
              <a:ext uri="{FF2B5EF4-FFF2-40B4-BE49-F238E27FC236}">
                <a16:creationId xmlns:a16="http://schemas.microsoft.com/office/drawing/2014/main" id="{690C0B8E-88BA-2EEB-6AC0-67F8F6BD7462}"/>
              </a:ext>
            </a:extLst>
          </p:cNvPr>
          <p:cNvSpPr/>
          <p:nvPr/>
        </p:nvSpPr>
        <p:spPr>
          <a:xfrm>
            <a:off x="11000698" y="1047705"/>
            <a:ext cx="790307" cy="31369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atch</a:t>
            </a:r>
          </a:p>
        </p:txBody>
      </p:sp>
      <p:sp>
        <p:nvSpPr>
          <p:cNvPr id="18" name="Freeform: Shape 17">
            <a:extLst>
              <a:ext uri="{FF2B5EF4-FFF2-40B4-BE49-F238E27FC236}">
                <a16:creationId xmlns:a16="http://schemas.microsoft.com/office/drawing/2014/main" id="{FC98D58D-7990-7E38-088A-C12D32F58D91}"/>
              </a:ext>
            </a:extLst>
          </p:cNvPr>
          <p:cNvSpPr/>
          <p:nvPr/>
        </p:nvSpPr>
        <p:spPr>
          <a:xfrm>
            <a:off x="69272" y="1611224"/>
            <a:ext cx="12053455" cy="1312740"/>
          </a:xfrm>
          <a:custGeom>
            <a:avLst/>
            <a:gdLst>
              <a:gd name="connsiteX0" fmla="*/ 0 w 12053455"/>
              <a:gd name="connsiteY0" fmla="*/ 218794 h 1312740"/>
              <a:gd name="connsiteX1" fmla="*/ 218794 w 12053455"/>
              <a:gd name="connsiteY1" fmla="*/ 0 h 1312740"/>
              <a:gd name="connsiteX2" fmla="*/ 11834661 w 12053455"/>
              <a:gd name="connsiteY2" fmla="*/ 0 h 1312740"/>
              <a:gd name="connsiteX3" fmla="*/ 12053455 w 12053455"/>
              <a:gd name="connsiteY3" fmla="*/ 218794 h 1312740"/>
              <a:gd name="connsiteX4" fmla="*/ 12053455 w 12053455"/>
              <a:gd name="connsiteY4" fmla="*/ 1093946 h 1312740"/>
              <a:gd name="connsiteX5" fmla="*/ 11834661 w 12053455"/>
              <a:gd name="connsiteY5" fmla="*/ 1312740 h 1312740"/>
              <a:gd name="connsiteX6" fmla="*/ 218794 w 12053455"/>
              <a:gd name="connsiteY6" fmla="*/ 1312740 h 1312740"/>
              <a:gd name="connsiteX7" fmla="*/ 0 w 12053455"/>
              <a:gd name="connsiteY7" fmla="*/ 1093946 h 1312740"/>
              <a:gd name="connsiteX8" fmla="*/ 0 w 12053455"/>
              <a:gd name="connsiteY8" fmla="*/ 218794 h 131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1312740">
                <a:moveTo>
                  <a:pt x="0" y="218794"/>
                </a:moveTo>
                <a:cubicBezTo>
                  <a:pt x="0" y="97957"/>
                  <a:pt x="97957" y="0"/>
                  <a:pt x="218794" y="0"/>
                </a:cubicBezTo>
                <a:lnTo>
                  <a:pt x="11834661" y="0"/>
                </a:lnTo>
                <a:cubicBezTo>
                  <a:pt x="11955498" y="0"/>
                  <a:pt x="12053455" y="97957"/>
                  <a:pt x="12053455" y="218794"/>
                </a:cubicBezTo>
                <a:lnTo>
                  <a:pt x="12053455" y="1093946"/>
                </a:lnTo>
                <a:cubicBezTo>
                  <a:pt x="12053455" y="1214783"/>
                  <a:pt x="11955498" y="1312740"/>
                  <a:pt x="11834661" y="1312740"/>
                </a:cubicBezTo>
                <a:lnTo>
                  <a:pt x="218794" y="1312740"/>
                </a:lnTo>
                <a:cubicBezTo>
                  <a:pt x="97957" y="1312740"/>
                  <a:pt x="0" y="1214783"/>
                  <a:pt x="0" y="1093946"/>
                </a:cubicBezTo>
                <a:lnTo>
                  <a:pt x="0" y="21879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9813" tIns="189813" rIns="189813" bIns="189813" numCol="1" spcCol="1270" anchor="ctr" anchorCtr="0">
            <a:noAutofit/>
          </a:bodyPr>
          <a:lstStyle/>
          <a:p>
            <a:pPr marL="0" lvl="0" indent="0" algn="l" defTabSz="1466850">
              <a:lnSpc>
                <a:spcPct val="90000"/>
              </a:lnSpc>
              <a:spcBef>
                <a:spcPct val="0"/>
              </a:spcBef>
              <a:spcAft>
                <a:spcPct val="35000"/>
              </a:spcAft>
              <a:buNone/>
            </a:pPr>
            <a:r>
              <a:rPr lang="en-US" sz="3300" kern="1200"/>
              <a:t>Multimodal content refers to information or communication that uses multiple modes or channels to convey a message or meaning. </a:t>
            </a:r>
          </a:p>
        </p:txBody>
      </p:sp>
      <p:sp>
        <p:nvSpPr>
          <p:cNvPr id="19" name="Freeform: Shape 18">
            <a:extLst>
              <a:ext uri="{FF2B5EF4-FFF2-40B4-BE49-F238E27FC236}">
                <a16:creationId xmlns:a16="http://schemas.microsoft.com/office/drawing/2014/main" id="{701032FA-2B06-182A-5E58-71F591C1EBD9}"/>
              </a:ext>
            </a:extLst>
          </p:cNvPr>
          <p:cNvSpPr/>
          <p:nvPr/>
        </p:nvSpPr>
        <p:spPr>
          <a:xfrm>
            <a:off x="69272" y="3019005"/>
            <a:ext cx="12053455" cy="1312740"/>
          </a:xfrm>
          <a:custGeom>
            <a:avLst/>
            <a:gdLst>
              <a:gd name="connsiteX0" fmla="*/ 0 w 12053455"/>
              <a:gd name="connsiteY0" fmla="*/ 218794 h 1312740"/>
              <a:gd name="connsiteX1" fmla="*/ 218794 w 12053455"/>
              <a:gd name="connsiteY1" fmla="*/ 0 h 1312740"/>
              <a:gd name="connsiteX2" fmla="*/ 11834661 w 12053455"/>
              <a:gd name="connsiteY2" fmla="*/ 0 h 1312740"/>
              <a:gd name="connsiteX3" fmla="*/ 12053455 w 12053455"/>
              <a:gd name="connsiteY3" fmla="*/ 218794 h 1312740"/>
              <a:gd name="connsiteX4" fmla="*/ 12053455 w 12053455"/>
              <a:gd name="connsiteY4" fmla="*/ 1093946 h 1312740"/>
              <a:gd name="connsiteX5" fmla="*/ 11834661 w 12053455"/>
              <a:gd name="connsiteY5" fmla="*/ 1312740 h 1312740"/>
              <a:gd name="connsiteX6" fmla="*/ 218794 w 12053455"/>
              <a:gd name="connsiteY6" fmla="*/ 1312740 h 1312740"/>
              <a:gd name="connsiteX7" fmla="*/ 0 w 12053455"/>
              <a:gd name="connsiteY7" fmla="*/ 1093946 h 1312740"/>
              <a:gd name="connsiteX8" fmla="*/ 0 w 12053455"/>
              <a:gd name="connsiteY8" fmla="*/ 218794 h 131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1312740">
                <a:moveTo>
                  <a:pt x="0" y="218794"/>
                </a:moveTo>
                <a:cubicBezTo>
                  <a:pt x="0" y="97957"/>
                  <a:pt x="97957" y="0"/>
                  <a:pt x="218794" y="0"/>
                </a:cubicBezTo>
                <a:lnTo>
                  <a:pt x="11834661" y="0"/>
                </a:lnTo>
                <a:cubicBezTo>
                  <a:pt x="11955498" y="0"/>
                  <a:pt x="12053455" y="97957"/>
                  <a:pt x="12053455" y="218794"/>
                </a:cubicBezTo>
                <a:lnTo>
                  <a:pt x="12053455" y="1093946"/>
                </a:lnTo>
                <a:cubicBezTo>
                  <a:pt x="12053455" y="1214783"/>
                  <a:pt x="11955498" y="1312740"/>
                  <a:pt x="11834661" y="1312740"/>
                </a:cubicBezTo>
                <a:lnTo>
                  <a:pt x="218794" y="1312740"/>
                </a:lnTo>
                <a:cubicBezTo>
                  <a:pt x="97957" y="1312740"/>
                  <a:pt x="0" y="1214783"/>
                  <a:pt x="0" y="1093946"/>
                </a:cubicBezTo>
                <a:lnTo>
                  <a:pt x="0" y="21879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9813" tIns="189813" rIns="189813" bIns="189813" numCol="1" spcCol="1270" anchor="ctr" anchorCtr="0">
            <a:noAutofit/>
          </a:bodyPr>
          <a:lstStyle/>
          <a:p>
            <a:pPr marL="0" lvl="0" indent="0" algn="l" defTabSz="1466850">
              <a:lnSpc>
                <a:spcPct val="90000"/>
              </a:lnSpc>
              <a:spcBef>
                <a:spcPct val="0"/>
              </a:spcBef>
              <a:spcAft>
                <a:spcPct val="35000"/>
              </a:spcAft>
              <a:buNone/>
            </a:pPr>
            <a:r>
              <a:rPr lang="en-US" sz="3300" kern="1200"/>
              <a:t>These modes can include text, images, audio, video, and interactive elements.</a:t>
            </a:r>
          </a:p>
        </p:txBody>
      </p:sp>
      <p:sp>
        <p:nvSpPr>
          <p:cNvPr id="20" name="Freeform: Shape 19">
            <a:extLst>
              <a:ext uri="{FF2B5EF4-FFF2-40B4-BE49-F238E27FC236}">
                <a16:creationId xmlns:a16="http://schemas.microsoft.com/office/drawing/2014/main" id="{1E71BDF7-367B-C0D3-BAE1-B366C818CC0D}"/>
              </a:ext>
            </a:extLst>
          </p:cNvPr>
          <p:cNvSpPr/>
          <p:nvPr/>
        </p:nvSpPr>
        <p:spPr>
          <a:xfrm>
            <a:off x="69272" y="4426785"/>
            <a:ext cx="12053455" cy="1312740"/>
          </a:xfrm>
          <a:custGeom>
            <a:avLst/>
            <a:gdLst>
              <a:gd name="connsiteX0" fmla="*/ 0 w 12053455"/>
              <a:gd name="connsiteY0" fmla="*/ 218794 h 1312740"/>
              <a:gd name="connsiteX1" fmla="*/ 218794 w 12053455"/>
              <a:gd name="connsiteY1" fmla="*/ 0 h 1312740"/>
              <a:gd name="connsiteX2" fmla="*/ 11834661 w 12053455"/>
              <a:gd name="connsiteY2" fmla="*/ 0 h 1312740"/>
              <a:gd name="connsiteX3" fmla="*/ 12053455 w 12053455"/>
              <a:gd name="connsiteY3" fmla="*/ 218794 h 1312740"/>
              <a:gd name="connsiteX4" fmla="*/ 12053455 w 12053455"/>
              <a:gd name="connsiteY4" fmla="*/ 1093946 h 1312740"/>
              <a:gd name="connsiteX5" fmla="*/ 11834661 w 12053455"/>
              <a:gd name="connsiteY5" fmla="*/ 1312740 h 1312740"/>
              <a:gd name="connsiteX6" fmla="*/ 218794 w 12053455"/>
              <a:gd name="connsiteY6" fmla="*/ 1312740 h 1312740"/>
              <a:gd name="connsiteX7" fmla="*/ 0 w 12053455"/>
              <a:gd name="connsiteY7" fmla="*/ 1093946 h 1312740"/>
              <a:gd name="connsiteX8" fmla="*/ 0 w 12053455"/>
              <a:gd name="connsiteY8" fmla="*/ 218794 h 131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1312740">
                <a:moveTo>
                  <a:pt x="0" y="218794"/>
                </a:moveTo>
                <a:cubicBezTo>
                  <a:pt x="0" y="97957"/>
                  <a:pt x="97957" y="0"/>
                  <a:pt x="218794" y="0"/>
                </a:cubicBezTo>
                <a:lnTo>
                  <a:pt x="11834661" y="0"/>
                </a:lnTo>
                <a:cubicBezTo>
                  <a:pt x="11955498" y="0"/>
                  <a:pt x="12053455" y="97957"/>
                  <a:pt x="12053455" y="218794"/>
                </a:cubicBezTo>
                <a:lnTo>
                  <a:pt x="12053455" y="1093946"/>
                </a:lnTo>
                <a:cubicBezTo>
                  <a:pt x="12053455" y="1214783"/>
                  <a:pt x="11955498" y="1312740"/>
                  <a:pt x="11834661" y="1312740"/>
                </a:cubicBezTo>
                <a:lnTo>
                  <a:pt x="218794" y="1312740"/>
                </a:lnTo>
                <a:cubicBezTo>
                  <a:pt x="97957" y="1312740"/>
                  <a:pt x="0" y="1214783"/>
                  <a:pt x="0" y="1093946"/>
                </a:cubicBezTo>
                <a:lnTo>
                  <a:pt x="0" y="21879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9813" tIns="189813" rIns="189813" bIns="189813" numCol="1" spcCol="1270" anchor="ctr" anchorCtr="0">
            <a:noAutofit/>
          </a:bodyPr>
          <a:lstStyle/>
          <a:p>
            <a:pPr marL="0" lvl="0" indent="0" algn="l" defTabSz="1466850">
              <a:lnSpc>
                <a:spcPct val="90000"/>
              </a:lnSpc>
              <a:spcBef>
                <a:spcPct val="0"/>
              </a:spcBef>
              <a:spcAft>
                <a:spcPct val="35000"/>
              </a:spcAft>
              <a:buNone/>
            </a:pPr>
            <a:r>
              <a:rPr lang="en-US" sz="3300" kern="1200"/>
              <a:t>The purpose of multimodal content is to enhance the user experience and make the information more engaging and accessible.</a:t>
            </a:r>
          </a:p>
        </p:txBody>
      </p:sp>
      <p:pic>
        <p:nvPicPr>
          <p:cNvPr id="54" name="Slide2">
            <a:hlinkClick r:id="" action="ppaction://media"/>
            <a:extLst>
              <a:ext uri="{FF2B5EF4-FFF2-40B4-BE49-F238E27FC236}">
                <a16:creationId xmlns:a16="http://schemas.microsoft.com/office/drawing/2014/main" id="{ACA3D7B1-D947-FB2F-97E7-E21C767BBE0F}"/>
              </a:ext>
            </a:extLst>
          </p:cNvPr>
          <p:cNvPicPr>
            <a:picLocks noChangeAspect="1"/>
          </p:cNvPicPr>
          <p:nvPr>
            <a:audioFile r:link="rId3"/>
            <p:extLst>
              <p:ext uri="{DAA4B4D4-6D71-4841-9C94-3DE7FCFB9230}">
                <p14:media xmlns:p14="http://schemas.microsoft.com/office/powerpoint/2010/main" r:embed="rId2"/>
              </p:ext>
            </p:extLst>
          </p:nvPr>
        </p:nvPicPr>
        <p:blipFill>
          <a:blip r:embed="rId12"/>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114279906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23495">
        <p159:morph option="byObject"/>
      </p:transition>
    </mc:Choice>
    <mc:Fallback>
      <p:transition spd="slow" advTm="2349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54"/>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54"/>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5" fill="hold" display="0">
                  <p:stCondLst>
                    <p:cond delay="indefinite"/>
                  </p:stCondLst>
                  <p:endCondLst>
                    <p:cond evt="onStopAudio" delay="0">
                      <p:tgtEl>
                        <p:sldTgt/>
                      </p:tgtEl>
                    </p:cond>
                  </p:endCondLst>
                </p:cTn>
                <p:tgtEl>
                  <p:spTgt spid="54"/>
                </p:tgtEl>
              </p:cMediaNode>
            </p:audio>
          </p:childTnLst>
        </p:cTn>
      </p:par>
    </p:tnLst>
    <p:bldLst>
      <p:bldP spid="18" grpId="0" animBg="1" autoUpdateAnimBg="0"/>
      <p:bldP spid="19" grpId="0" animBg="1" autoUpdateAnimBg="0"/>
      <p:bldP spid="20" grpId="0" animBg="1"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tionNameTextPlaceholder">
            <a:extLst>
              <a:ext uri="{FF2B5EF4-FFF2-40B4-BE49-F238E27FC236}">
                <a16:creationId xmlns:a16="http://schemas.microsoft.com/office/drawing/2014/main" id="{C0E43BF0-C844-4F54-EE39-F4DF1B103726}"/>
              </a:ext>
            </a:extLst>
          </p:cNvPr>
          <p:cNvSpPr>
            <a:spLocks noGrp="1"/>
          </p:cNvSpPr>
          <p:nvPr>
            <p:ph type="body" idx="1"/>
          </p:nvPr>
        </p:nvSpPr>
        <p:spPr/>
        <p:txBody>
          <a:bodyPr/>
          <a:lstStyle/>
          <a:p>
            <a:r>
              <a:rPr lang="en-US" dirty="0"/>
              <a:t>Text-to-Speech with Aria - a Female Voice</a:t>
            </a:r>
          </a:p>
        </p:txBody>
      </p:sp>
      <p:sp>
        <p:nvSpPr>
          <p:cNvPr id="4" name="Title 3">
            <a:extLst>
              <a:ext uri="{FF2B5EF4-FFF2-40B4-BE49-F238E27FC236}">
                <a16:creationId xmlns:a16="http://schemas.microsoft.com/office/drawing/2014/main" id="{9E675B2D-EA61-4115-099D-7786F65D9C67}"/>
              </a:ext>
            </a:extLst>
          </p:cNvPr>
          <p:cNvSpPr>
            <a:spLocks noGrp="1"/>
          </p:cNvSpPr>
          <p:nvPr>
            <p:ph type="title"/>
          </p:nvPr>
        </p:nvSpPr>
        <p:spPr/>
        <p:txBody>
          <a:bodyPr/>
          <a:lstStyle/>
          <a:p>
            <a:r>
              <a:rPr lang="en-US" dirty="0"/>
              <a:t>Multimodal Content Examples</a:t>
            </a:r>
          </a:p>
        </p:txBody>
      </p:sp>
      <p:sp>
        <p:nvSpPr>
          <p:cNvPr id="7" name="Text Placeholder 6">
            <a:extLst>
              <a:ext uri="{FF2B5EF4-FFF2-40B4-BE49-F238E27FC236}">
                <a16:creationId xmlns:a16="http://schemas.microsoft.com/office/drawing/2014/main" id="{7D42E2C3-8EA1-ACBD-AEA4-55715457DB86}"/>
              </a:ext>
            </a:extLst>
          </p:cNvPr>
          <p:cNvSpPr>
            <a:spLocks noGrp="1"/>
          </p:cNvSpPr>
          <p:nvPr>
            <p:ph type="body" sz="quarter" idx="3"/>
          </p:nvPr>
        </p:nvSpPr>
        <p:spPr/>
        <p:txBody>
          <a:bodyPr/>
          <a:lstStyle/>
          <a:p>
            <a:endParaRPr lang="en-US" dirty="0"/>
          </a:p>
        </p:txBody>
      </p:sp>
      <p:sp>
        <p:nvSpPr>
          <p:cNvPr id="3" name="Freeform: Shape 2">
            <a:extLst>
              <a:ext uri="{FF2B5EF4-FFF2-40B4-BE49-F238E27FC236}">
                <a16:creationId xmlns:a16="http://schemas.microsoft.com/office/drawing/2014/main" id="{7C8F8B1F-CBC7-BA28-A54D-957A3670781F}"/>
              </a:ext>
            </a:extLst>
          </p:cNvPr>
          <p:cNvSpPr/>
          <p:nvPr/>
        </p:nvSpPr>
        <p:spPr>
          <a:xfrm>
            <a:off x="64653" y="840204"/>
            <a:ext cx="12053455" cy="647595"/>
          </a:xfrm>
          <a:custGeom>
            <a:avLst/>
            <a:gdLst>
              <a:gd name="connsiteX0" fmla="*/ 0 w 12053455"/>
              <a:gd name="connsiteY0" fmla="*/ 107935 h 647595"/>
              <a:gd name="connsiteX1" fmla="*/ 107935 w 12053455"/>
              <a:gd name="connsiteY1" fmla="*/ 0 h 647595"/>
              <a:gd name="connsiteX2" fmla="*/ 11945520 w 12053455"/>
              <a:gd name="connsiteY2" fmla="*/ 0 h 647595"/>
              <a:gd name="connsiteX3" fmla="*/ 12053455 w 12053455"/>
              <a:gd name="connsiteY3" fmla="*/ 107935 h 647595"/>
              <a:gd name="connsiteX4" fmla="*/ 12053455 w 12053455"/>
              <a:gd name="connsiteY4" fmla="*/ 539660 h 647595"/>
              <a:gd name="connsiteX5" fmla="*/ 11945520 w 12053455"/>
              <a:gd name="connsiteY5" fmla="*/ 647595 h 647595"/>
              <a:gd name="connsiteX6" fmla="*/ 107935 w 12053455"/>
              <a:gd name="connsiteY6" fmla="*/ 647595 h 647595"/>
              <a:gd name="connsiteX7" fmla="*/ 0 w 12053455"/>
              <a:gd name="connsiteY7" fmla="*/ 539660 h 647595"/>
              <a:gd name="connsiteX8" fmla="*/ 0 w 12053455"/>
              <a:gd name="connsiteY8" fmla="*/ 107935 h 64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647595">
                <a:moveTo>
                  <a:pt x="0" y="107935"/>
                </a:moveTo>
                <a:cubicBezTo>
                  <a:pt x="0" y="48324"/>
                  <a:pt x="48324" y="0"/>
                  <a:pt x="107935" y="0"/>
                </a:cubicBezTo>
                <a:lnTo>
                  <a:pt x="11945520" y="0"/>
                </a:lnTo>
                <a:cubicBezTo>
                  <a:pt x="12005131" y="0"/>
                  <a:pt x="12053455" y="48324"/>
                  <a:pt x="12053455" y="107935"/>
                </a:cubicBezTo>
                <a:lnTo>
                  <a:pt x="12053455" y="539660"/>
                </a:lnTo>
                <a:cubicBezTo>
                  <a:pt x="12053455" y="599271"/>
                  <a:pt x="12005131" y="647595"/>
                  <a:pt x="11945520" y="647595"/>
                </a:cubicBezTo>
                <a:lnTo>
                  <a:pt x="107935" y="647595"/>
                </a:lnTo>
                <a:cubicBezTo>
                  <a:pt x="48324" y="647595"/>
                  <a:pt x="0" y="599271"/>
                  <a:pt x="0" y="539660"/>
                </a:cubicBezTo>
                <a:lnTo>
                  <a:pt x="0" y="10793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83" tIns="134483" rIns="134483" bIns="134483" numCol="1" spcCol="1270" anchor="ctr" anchorCtr="0">
            <a:noAutofit/>
          </a:bodyPr>
          <a:lstStyle/>
          <a:p>
            <a:pPr marL="0" lvl="0" indent="0" algn="l" defTabSz="1200150">
              <a:lnSpc>
                <a:spcPct val="90000"/>
              </a:lnSpc>
              <a:spcBef>
                <a:spcPct val="0"/>
              </a:spcBef>
              <a:spcAft>
                <a:spcPct val="35000"/>
              </a:spcAft>
              <a:buNone/>
            </a:pPr>
            <a:r>
              <a:rPr lang="en-US" sz="2700" kern="1200"/>
              <a:t>Educational Videos</a:t>
            </a:r>
          </a:p>
        </p:txBody>
      </p:sp>
      <p:sp>
        <p:nvSpPr>
          <p:cNvPr id="6" name="Freeform: Shape 5">
            <a:extLst>
              <a:ext uri="{FF2B5EF4-FFF2-40B4-BE49-F238E27FC236}">
                <a16:creationId xmlns:a16="http://schemas.microsoft.com/office/drawing/2014/main" id="{F4278D4C-E860-B522-F733-4F9B41E176DB}"/>
              </a:ext>
            </a:extLst>
          </p:cNvPr>
          <p:cNvSpPr/>
          <p:nvPr/>
        </p:nvSpPr>
        <p:spPr>
          <a:xfrm>
            <a:off x="64653" y="1487799"/>
            <a:ext cx="12053455" cy="447120"/>
          </a:xfrm>
          <a:custGeom>
            <a:avLst/>
            <a:gdLst>
              <a:gd name="connsiteX0" fmla="*/ 0 w 12053455"/>
              <a:gd name="connsiteY0" fmla="*/ 0 h 447120"/>
              <a:gd name="connsiteX1" fmla="*/ 12053455 w 12053455"/>
              <a:gd name="connsiteY1" fmla="*/ 0 h 447120"/>
              <a:gd name="connsiteX2" fmla="*/ 12053455 w 12053455"/>
              <a:gd name="connsiteY2" fmla="*/ 447120 h 447120"/>
              <a:gd name="connsiteX3" fmla="*/ 0 w 12053455"/>
              <a:gd name="connsiteY3" fmla="*/ 447120 h 447120"/>
              <a:gd name="connsiteX4" fmla="*/ 0 w 12053455"/>
              <a:gd name="connsiteY4" fmla="*/ 0 h 447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447120">
                <a:moveTo>
                  <a:pt x="0" y="0"/>
                </a:moveTo>
                <a:lnTo>
                  <a:pt x="12053455" y="0"/>
                </a:lnTo>
                <a:lnTo>
                  <a:pt x="12053455" y="447120"/>
                </a:lnTo>
                <a:lnTo>
                  <a:pt x="0" y="4471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dirty="0"/>
              <a:t>Combining visual aids, spoken explanations, and text annotations to teach a concept.</a:t>
            </a:r>
          </a:p>
        </p:txBody>
      </p:sp>
      <p:sp>
        <p:nvSpPr>
          <p:cNvPr id="9" name="Freeform: Shape 8">
            <a:extLst>
              <a:ext uri="{FF2B5EF4-FFF2-40B4-BE49-F238E27FC236}">
                <a16:creationId xmlns:a16="http://schemas.microsoft.com/office/drawing/2014/main" id="{523CA0B9-053F-6B9D-62B4-2BC35DD1EBB3}"/>
              </a:ext>
            </a:extLst>
          </p:cNvPr>
          <p:cNvSpPr/>
          <p:nvPr/>
        </p:nvSpPr>
        <p:spPr>
          <a:xfrm>
            <a:off x="64653" y="1934919"/>
            <a:ext cx="12053455" cy="647595"/>
          </a:xfrm>
          <a:custGeom>
            <a:avLst/>
            <a:gdLst>
              <a:gd name="connsiteX0" fmla="*/ 0 w 12053455"/>
              <a:gd name="connsiteY0" fmla="*/ 107935 h 647595"/>
              <a:gd name="connsiteX1" fmla="*/ 107935 w 12053455"/>
              <a:gd name="connsiteY1" fmla="*/ 0 h 647595"/>
              <a:gd name="connsiteX2" fmla="*/ 11945520 w 12053455"/>
              <a:gd name="connsiteY2" fmla="*/ 0 h 647595"/>
              <a:gd name="connsiteX3" fmla="*/ 12053455 w 12053455"/>
              <a:gd name="connsiteY3" fmla="*/ 107935 h 647595"/>
              <a:gd name="connsiteX4" fmla="*/ 12053455 w 12053455"/>
              <a:gd name="connsiteY4" fmla="*/ 539660 h 647595"/>
              <a:gd name="connsiteX5" fmla="*/ 11945520 w 12053455"/>
              <a:gd name="connsiteY5" fmla="*/ 647595 h 647595"/>
              <a:gd name="connsiteX6" fmla="*/ 107935 w 12053455"/>
              <a:gd name="connsiteY6" fmla="*/ 647595 h 647595"/>
              <a:gd name="connsiteX7" fmla="*/ 0 w 12053455"/>
              <a:gd name="connsiteY7" fmla="*/ 539660 h 647595"/>
              <a:gd name="connsiteX8" fmla="*/ 0 w 12053455"/>
              <a:gd name="connsiteY8" fmla="*/ 107935 h 64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647595">
                <a:moveTo>
                  <a:pt x="0" y="107935"/>
                </a:moveTo>
                <a:cubicBezTo>
                  <a:pt x="0" y="48324"/>
                  <a:pt x="48324" y="0"/>
                  <a:pt x="107935" y="0"/>
                </a:cubicBezTo>
                <a:lnTo>
                  <a:pt x="11945520" y="0"/>
                </a:lnTo>
                <a:cubicBezTo>
                  <a:pt x="12005131" y="0"/>
                  <a:pt x="12053455" y="48324"/>
                  <a:pt x="12053455" y="107935"/>
                </a:cubicBezTo>
                <a:lnTo>
                  <a:pt x="12053455" y="539660"/>
                </a:lnTo>
                <a:cubicBezTo>
                  <a:pt x="12053455" y="599271"/>
                  <a:pt x="12005131" y="647595"/>
                  <a:pt x="11945520" y="647595"/>
                </a:cubicBezTo>
                <a:lnTo>
                  <a:pt x="107935" y="647595"/>
                </a:lnTo>
                <a:cubicBezTo>
                  <a:pt x="48324" y="647595"/>
                  <a:pt x="0" y="599271"/>
                  <a:pt x="0" y="539660"/>
                </a:cubicBezTo>
                <a:lnTo>
                  <a:pt x="0" y="10793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83" tIns="134483" rIns="134483" bIns="134483" numCol="1" spcCol="1270" anchor="ctr" anchorCtr="0">
            <a:noAutofit/>
          </a:bodyPr>
          <a:lstStyle/>
          <a:p>
            <a:pPr marL="0" lvl="0" indent="0" algn="l" defTabSz="1200150">
              <a:lnSpc>
                <a:spcPct val="90000"/>
              </a:lnSpc>
              <a:spcBef>
                <a:spcPct val="0"/>
              </a:spcBef>
              <a:spcAft>
                <a:spcPct val="35000"/>
              </a:spcAft>
              <a:buNone/>
            </a:pPr>
            <a:r>
              <a:rPr lang="en-US" sz="2700" kern="1200" dirty="0"/>
              <a:t>Web Pages</a:t>
            </a:r>
          </a:p>
        </p:txBody>
      </p:sp>
      <p:sp>
        <p:nvSpPr>
          <p:cNvPr id="18" name="Freeform: Shape 17">
            <a:extLst>
              <a:ext uri="{FF2B5EF4-FFF2-40B4-BE49-F238E27FC236}">
                <a16:creationId xmlns:a16="http://schemas.microsoft.com/office/drawing/2014/main" id="{A0ACBDAA-3547-48B8-85E3-1495C00755B8}"/>
              </a:ext>
            </a:extLst>
          </p:cNvPr>
          <p:cNvSpPr/>
          <p:nvPr/>
        </p:nvSpPr>
        <p:spPr>
          <a:xfrm>
            <a:off x="64653" y="2582514"/>
            <a:ext cx="12053455" cy="447120"/>
          </a:xfrm>
          <a:custGeom>
            <a:avLst/>
            <a:gdLst>
              <a:gd name="connsiteX0" fmla="*/ 0 w 12053455"/>
              <a:gd name="connsiteY0" fmla="*/ 0 h 447120"/>
              <a:gd name="connsiteX1" fmla="*/ 12053455 w 12053455"/>
              <a:gd name="connsiteY1" fmla="*/ 0 h 447120"/>
              <a:gd name="connsiteX2" fmla="*/ 12053455 w 12053455"/>
              <a:gd name="connsiteY2" fmla="*/ 447120 h 447120"/>
              <a:gd name="connsiteX3" fmla="*/ 0 w 12053455"/>
              <a:gd name="connsiteY3" fmla="*/ 447120 h 447120"/>
              <a:gd name="connsiteX4" fmla="*/ 0 w 12053455"/>
              <a:gd name="connsiteY4" fmla="*/ 0 h 447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447120">
                <a:moveTo>
                  <a:pt x="0" y="0"/>
                </a:moveTo>
                <a:lnTo>
                  <a:pt x="12053455" y="0"/>
                </a:lnTo>
                <a:lnTo>
                  <a:pt x="12053455" y="447120"/>
                </a:lnTo>
                <a:lnTo>
                  <a:pt x="0" y="4471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Using a mix of text, images, videos, and interactive graphics to provide a rich user experience.</a:t>
            </a:r>
          </a:p>
        </p:txBody>
      </p:sp>
      <p:sp>
        <p:nvSpPr>
          <p:cNvPr id="19" name="Freeform: Shape 18">
            <a:extLst>
              <a:ext uri="{FF2B5EF4-FFF2-40B4-BE49-F238E27FC236}">
                <a16:creationId xmlns:a16="http://schemas.microsoft.com/office/drawing/2014/main" id="{BC2FE0A7-5A50-CF37-D4B9-78D4B1A24847}"/>
              </a:ext>
            </a:extLst>
          </p:cNvPr>
          <p:cNvSpPr/>
          <p:nvPr/>
        </p:nvSpPr>
        <p:spPr>
          <a:xfrm>
            <a:off x="64653" y="3029634"/>
            <a:ext cx="12053455" cy="647595"/>
          </a:xfrm>
          <a:custGeom>
            <a:avLst/>
            <a:gdLst>
              <a:gd name="connsiteX0" fmla="*/ 0 w 12053455"/>
              <a:gd name="connsiteY0" fmla="*/ 107935 h 647595"/>
              <a:gd name="connsiteX1" fmla="*/ 107935 w 12053455"/>
              <a:gd name="connsiteY1" fmla="*/ 0 h 647595"/>
              <a:gd name="connsiteX2" fmla="*/ 11945520 w 12053455"/>
              <a:gd name="connsiteY2" fmla="*/ 0 h 647595"/>
              <a:gd name="connsiteX3" fmla="*/ 12053455 w 12053455"/>
              <a:gd name="connsiteY3" fmla="*/ 107935 h 647595"/>
              <a:gd name="connsiteX4" fmla="*/ 12053455 w 12053455"/>
              <a:gd name="connsiteY4" fmla="*/ 539660 h 647595"/>
              <a:gd name="connsiteX5" fmla="*/ 11945520 w 12053455"/>
              <a:gd name="connsiteY5" fmla="*/ 647595 h 647595"/>
              <a:gd name="connsiteX6" fmla="*/ 107935 w 12053455"/>
              <a:gd name="connsiteY6" fmla="*/ 647595 h 647595"/>
              <a:gd name="connsiteX7" fmla="*/ 0 w 12053455"/>
              <a:gd name="connsiteY7" fmla="*/ 539660 h 647595"/>
              <a:gd name="connsiteX8" fmla="*/ 0 w 12053455"/>
              <a:gd name="connsiteY8" fmla="*/ 107935 h 64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647595">
                <a:moveTo>
                  <a:pt x="0" y="107935"/>
                </a:moveTo>
                <a:cubicBezTo>
                  <a:pt x="0" y="48324"/>
                  <a:pt x="48324" y="0"/>
                  <a:pt x="107935" y="0"/>
                </a:cubicBezTo>
                <a:lnTo>
                  <a:pt x="11945520" y="0"/>
                </a:lnTo>
                <a:cubicBezTo>
                  <a:pt x="12005131" y="0"/>
                  <a:pt x="12053455" y="48324"/>
                  <a:pt x="12053455" y="107935"/>
                </a:cubicBezTo>
                <a:lnTo>
                  <a:pt x="12053455" y="539660"/>
                </a:lnTo>
                <a:cubicBezTo>
                  <a:pt x="12053455" y="599271"/>
                  <a:pt x="12005131" y="647595"/>
                  <a:pt x="11945520" y="647595"/>
                </a:cubicBezTo>
                <a:lnTo>
                  <a:pt x="107935" y="647595"/>
                </a:lnTo>
                <a:cubicBezTo>
                  <a:pt x="48324" y="647595"/>
                  <a:pt x="0" y="599271"/>
                  <a:pt x="0" y="539660"/>
                </a:cubicBezTo>
                <a:lnTo>
                  <a:pt x="0" y="10793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83" tIns="134483" rIns="134483" bIns="134483" numCol="1" spcCol="1270" anchor="ctr" anchorCtr="0">
            <a:noAutofit/>
          </a:bodyPr>
          <a:lstStyle/>
          <a:p>
            <a:pPr marL="0" lvl="0" indent="0" algn="l" defTabSz="1200150">
              <a:lnSpc>
                <a:spcPct val="90000"/>
              </a:lnSpc>
              <a:spcBef>
                <a:spcPct val="0"/>
              </a:spcBef>
              <a:spcAft>
                <a:spcPct val="35000"/>
              </a:spcAft>
              <a:buNone/>
            </a:pPr>
            <a:r>
              <a:rPr lang="en-US" sz="2700" kern="1200" dirty="0"/>
              <a:t>Presentations</a:t>
            </a:r>
          </a:p>
        </p:txBody>
      </p:sp>
      <p:sp>
        <p:nvSpPr>
          <p:cNvPr id="20" name="Freeform: Shape 19">
            <a:extLst>
              <a:ext uri="{FF2B5EF4-FFF2-40B4-BE49-F238E27FC236}">
                <a16:creationId xmlns:a16="http://schemas.microsoft.com/office/drawing/2014/main" id="{E652AAF9-08AC-527C-4E69-14350C4FFA45}"/>
              </a:ext>
            </a:extLst>
          </p:cNvPr>
          <p:cNvSpPr/>
          <p:nvPr/>
        </p:nvSpPr>
        <p:spPr>
          <a:xfrm>
            <a:off x="64653" y="3677229"/>
            <a:ext cx="12053455" cy="447120"/>
          </a:xfrm>
          <a:custGeom>
            <a:avLst/>
            <a:gdLst>
              <a:gd name="connsiteX0" fmla="*/ 0 w 12053455"/>
              <a:gd name="connsiteY0" fmla="*/ 0 h 447120"/>
              <a:gd name="connsiteX1" fmla="*/ 12053455 w 12053455"/>
              <a:gd name="connsiteY1" fmla="*/ 0 h 447120"/>
              <a:gd name="connsiteX2" fmla="*/ 12053455 w 12053455"/>
              <a:gd name="connsiteY2" fmla="*/ 447120 h 447120"/>
              <a:gd name="connsiteX3" fmla="*/ 0 w 12053455"/>
              <a:gd name="connsiteY3" fmla="*/ 447120 h 447120"/>
              <a:gd name="connsiteX4" fmla="*/ 0 w 12053455"/>
              <a:gd name="connsiteY4" fmla="*/ 0 h 447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447120">
                <a:moveTo>
                  <a:pt x="0" y="0"/>
                </a:moveTo>
                <a:lnTo>
                  <a:pt x="12053455" y="0"/>
                </a:lnTo>
                <a:lnTo>
                  <a:pt x="12053455" y="447120"/>
                </a:lnTo>
                <a:lnTo>
                  <a:pt x="0" y="4471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Incorporating slides with text, images, and videos to support a verbal presentation.</a:t>
            </a:r>
          </a:p>
        </p:txBody>
      </p:sp>
      <p:sp>
        <p:nvSpPr>
          <p:cNvPr id="21" name="Freeform: Shape 20">
            <a:extLst>
              <a:ext uri="{FF2B5EF4-FFF2-40B4-BE49-F238E27FC236}">
                <a16:creationId xmlns:a16="http://schemas.microsoft.com/office/drawing/2014/main" id="{D19E9AF8-B2B7-2EB0-11BF-095E0D1DFE66}"/>
              </a:ext>
            </a:extLst>
          </p:cNvPr>
          <p:cNvSpPr/>
          <p:nvPr/>
        </p:nvSpPr>
        <p:spPr>
          <a:xfrm>
            <a:off x="64653" y="4124349"/>
            <a:ext cx="12053455" cy="647595"/>
          </a:xfrm>
          <a:custGeom>
            <a:avLst/>
            <a:gdLst>
              <a:gd name="connsiteX0" fmla="*/ 0 w 12053455"/>
              <a:gd name="connsiteY0" fmla="*/ 107935 h 647595"/>
              <a:gd name="connsiteX1" fmla="*/ 107935 w 12053455"/>
              <a:gd name="connsiteY1" fmla="*/ 0 h 647595"/>
              <a:gd name="connsiteX2" fmla="*/ 11945520 w 12053455"/>
              <a:gd name="connsiteY2" fmla="*/ 0 h 647595"/>
              <a:gd name="connsiteX3" fmla="*/ 12053455 w 12053455"/>
              <a:gd name="connsiteY3" fmla="*/ 107935 h 647595"/>
              <a:gd name="connsiteX4" fmla="*/ 12053455 w 12053455"/>
              <a:gd name="connsiteY4" fmla="*/ 539660 h 647595"/>
              <a:gd name="connsiteX5" fmla="*/ 11945520 w 12053455"/>
              <a:gd name="connsiteY5" fmla="*/ 647595 h 647595"/>
              <a:gd name="connsiteX6" fmla="*/ 107935 w 12053455"/>
              <a:gd name="connsiteY6" fmla="*/ 647595 h 647595"/>
              <a:gd name="connsiteX7" fmla="*/ 0 w 12053455"/>
              <a:gd name="connsiteY7" fmla="*/ 539660 h 647595"/>
              <a:gd name="connsiteX8" fmla="*/ 0 w 12053455"/>
              <a:gd name="connsiteY8" fmla="*/ 107935 h 64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647595">
                <a:moveTo>
                  <a:pt x="0" y="107935"/>
                </a:moveTo>
                <a:cubicBezTo>
                  <a:pt x="0" y="48324"/>
                  <a:pt x="48324" y="0"/>
                  <a:pt x="107935" y="0"/>
                </a:cubicBezTo>
                <a:lnTo>
                  <a:pt x="11945520" y="0"/>
                </a:lnTo>
                <a:cubicBezTo>
                  <a:pt x="12005131" y="0"/>
                  <a:pt x="12053455" y="48324"/>
                  <a:pt x="12053455" y="107935"/>
                </a:cubicBezTo>
                <a:lnTo>
                  <a:pt x="12053455" y="539660"/>
                </a:lnTo>
                <a:cubicBezTo>
                  <a:pt x="12053455" y="599271"/>
                  <a:pt x="12005131" y="647595"/>
                  <a:pt x="11945520" y="647595"/>
                </a:cubicBezTo>
                <a:lnTo>
                  <a:pt x="107935" y="647595"/>
                </a:lnTo>
                <a:cubicBezTo>
                  <a:pt x="48324" y="647595"/>
                  <a:pt x="0" y="599271"/>
                  <a:pt x="0" y="539660"/>
                </a:cubicBezTo>
                <a:lnTo>
                  <a:pt x="0" y="10793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83" tIns="134483" rIns="134483" bIns="134483" numCol="1" spcCol="1270" anchor="ctr" anchorCtr="0">
            <a:noAutofit/>
          </a:bodyPr>
          <a:lstStyle/>
          <a:p>
            <a:pPr marL="0" lvl="0" indent="0" algn="l" defTabSz="1200150">
              <a:lnSpc>
                <a:spcPct val="90000"/>
              </a:lnSpc>
              <a:spcBef>
                <a:spcPct val="0"/>
              </a:spcBef>
              <a:spcAft>
                <a:spcPct val="35000"/>
              </a:spcAft>
              <a:buNone/>
            </a:pPr>
            <a:r>
              <a:rPr lang="en-US" sz="2700" kern="1200" dirty="0"/>
              <a:t>Augmented Reality (AR) and Virtual Reality (VR)</a:t>
            </a:r>
          </a:p>
        </p:txBody>
      </p:sp>
      <p:sp>
        <p:nvSpPr>
          <p:cNvPr id="22" name="Freeform: Shape 21">
            <a:extLst>
              <a:ext uri="{FF2B5EF4-FFF2-40B4-BE49-F238E27FC236}">
                <a16:creationId xmlns:a16="http://schemas.microsoft.com/office/drawing/2014/main" id="{4AA64FBE-596E-43FD-37D0-7D73F735CA33}"/>
              </a:ext>
            </a:extLst>
          </p:cNvPr>
          <p:cNvSpPr/>
          <p:nvPr/>
        </p:nvSpPr>
        <p:spPr>
          <a:xfrm>
            <a:off x="64653" y="4771944"/>
            <a:ext cx="12053455" cy="447120"/>
          </a:xfrm>
          <a:custGeom>
            <a:avLst/>
            <a:gdLst>
              <a:gd name="connsiteX0" fmla="*/ 0 w 12053455"/>
              <a:gd name="connsiteY0" fmla="*/ 0 h 447120"/>
              <a:gd name="connsiteX1" fmla="*/ 12053455 w 12053455"/>
              <a:gd name="connsiteY1" fmla="*/ 0 h 447120"/>
              <a:gd name="connsiteX2" fmla="*/ 12053455 w 12053455"/>
              <a:gd name="connsiteY2" fmla="*/ 447120 h 447120"/>
              <a:gd name="connsiteX3" fmla="*/ 0 w 12053455"/>
              <a:gd name="connsiteY3" fmla="*/ 447120 h 447120"/>
              <a:gd name="connsiteX4" fmla="*/ 0 w 12053455"/>
              <a:gd name="connsiteY4" fmla="*/ 0 h 447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447120">
                <a:moveTo>
                  <a:pt x="0" y="0"/>
                </a:moveTo>
                <a:lnTo>
                  <a:pt x="12053455" y="0"/>
                </a:lnTo>
                <a:lnTo>
                  <a:pt x="12053455" y="447120"/>
                </a:lnTo>
                <a:lnTo>
                  <a:pt x="0" y="4471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Integrating audio, visual, and sometimes tactile elements to create immersive experiences.</a:t>
            </a:r>
          </a:p>
        </p:txBody>
      </p:sp>
      <p:sp>
        <p:nvSpPr>
          <p:cNvPr id="23" name="Freeform: Shape 22">
            <a:extLst>
              <a:ext uri="{FF2B5EF4-FFF2-40B4-BE49-F238E27FC236}">
                <a16:creationId xmlns:a16="http://schemas.microsoft.com/office/drawing/2014/main" id="{155157CC-74B7-284C-8C26-ED9C282E514F}"/>
              </a:ext>
            </a:extLst>
          </p:cNvPr>
          <p:cNvSpPr/>
          <p:nvPr/>
        </p:nvSpPr>
        <p:spPr>
          <a:xfrm>
            <a:off x="64653" y="5219064"/>
            <a:ext cx="12053455" cy="647595"/>
          </a:xfrm>
          <a:custGeom>
            <a:avLst/>
            <a:gdLst>
              <a:gd name="connsiteX0" fmla="*/ 0 w 12053455"/>
              <a:gd name="connsiteY0" fmla="*/ 107935 h 647595"/>
              <a:gd name="connsiteX1" fmla="*/ 107935 w 12053455"/>
              <a:gd name="connsiteY1" fmla="*/ 0 h 647595"/>
              <a:gd name="connsiteX2" fmla="*/ 11945520 w 12053455"/>
              <a:gd name="connsiteY2" fmla="*/ 0 h 647595"/>
              <a:gd name="connsiteX3" fmla="*/ 12053455 w 12053455"/>
              <a:gd name="connsiteY3" fmla="*/ 107935 h 647595"/>
              <a:gd name="connsiteX4" fmla="*/ 12053455 w 12053455"/>
              <a:gd name="connsiteY4" fmla="*/ 539660 h 647595"/>
              <a:gd name="connsiteX5" fmla="*/ 11945520 w 12053455"/>
              <a:gd name="connsiteY5" fmla="*/ 647595 h 647595"/>
              <a:gd name="connsiteX6" fmla="*/ 107935 w 12053455"/>
              <a:gd name="connsiteY6" fmla="*/ 647595 h 647595"/>
              <a:gd name="connsiteX7" fmla="*/ 0 w 12053455"/>
              <a:gd name="connsiteY7" fmla="*/ 539660 h 647595"/>
              <a:gd name="connsiteX8" fmla="*/ 0 w 12053455"/>
              <a:gd name="connsiteY8" fmla="*/ 107935 h 647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647595">
                <a:moveTo>
                  <a:pt x="0" y="107935"/>
                </a:moveTo>
                <a:cubicBezTo>
                  <a:pt x="0" y="48324"/>
                  <a:pt x="48324" y="0"/>
                  <a:pt x="107935" y="0"/>
                </a:cubicBezTo>
                <a:lnTo>
                  <a:pt x="11945520" y="0"/>
                </a:lnTo>
                <a:cubicBezTo>
                  <a:pt x="12005131" y="0"/>
                  <a:pt x="12053455" y="48324"/>
                  <a:pt x="12053455" y="107935"/>
                </a:cubicBezTo>
                <a:lnTo>
                  <a:pt x="12053455" y="539660"/>
                </a:lnTo>
                <a:cubicBezTo>
                  <a:pt x="12053455" y="599271"/>
                  <a:pt x="12005131" y="647595"/>
                  <a:pt x="11945520" y="647595"/>
                </a:cubicBezTo>
                <a:lnTo>
                  <a:pt x="107935" y="647595"/>
                </a:lnTo>
                <a:cubicBezTo>
                  <a:pt x="48324" y="647595"/>
                  <a:pt x="0" y="599271"/>
                  <a:pt x="0" y="539660"/>
                </a:cubicBezTo>
                <a:lnTo>
                  <a:pt x="0" y="10793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83" tIns="134483" rIns="134483" bIns="134483" numCol="1" spcCol="1270" anchor="ctr" anchorCtr="0">
            <a:noAutofit/>
          </a:bodyPr>
          <a:lstStyle/>
          <a:p>
            <a:pPr marL="0" lvl="0" indent="0" algn="l" defTabSz="1200150">
              <a:lnSpc>
                <a:spcPct val="90000"/>
              </a:lnSpc>
              <a:spcBef>
                <a:spcPct val="0"/>
              </a:spcBef>
              <a:spcAft>
                <a:spcPct val="35000"/>
              </a:spcAft>
              <a:buNone/>
            </a:pPr>
            <a:r>
              <a:rPr lang="en-US" sz="2700" kern="1200" dirty="0"/>
              <a:t>Interactive Infographics</a:t>
            </a:r>
          </a:p>
        </p:txBody>
      </p:sp>
      <p:sp>
        <p:nvSpPr>
          <p:cNvPr id="24" name="Freeform: Shape 23">
            <a:extLst>
              <a:ext uri="{FF2B5EF4-FFF2-40B4-BE49-F238E27FC236}">
                <a16:creationId xmlns:a16="http://schemas.microsoft.com/office/drawing/2014/main" id="{1ECA429D-CBC5-81DE-35F9-DB689FC6C25D}"/>
              </a:ext>
            </a:extLst>
          </p:cNvPr>
          <p:cNvSpPr/>
          <p:nvPr/>
        </p:nvSpPr>
        <p:spPr>
          <a:xfrm>
            <a:off x="64653" y="5866659"/>
            <a:ext cx="12053455" cy="447120"/>
          </a:xfrm>
          <a:custGeom>
            <a:avLst/>
            <a:gdLst>
              <a:gd name="connsiteX0" fmla="*/ 0 w 12053455"/>
              <a:gd name="connsiteY0" fmla="*/ 0 h 447120"/>
              <a:gd name="connsiteX1" fmla="*/ 12053455 w 12053455"/>
              <a:gd name="connsiteY1" fmla="*/ 0 h 447120"/>
              <a:gd name="connsiteX2" fmla="*/ 12053455 w 12053455"/>
              <a:gd name="connsiteY2" fmla="*/ 447120 h 447120"/>
              <a:gd name="connsiteX3" fmla="*/ 0 w 12053455"/>
              <a:gd name="connsiteY3" fmla="*/ 447120 h 447120"/>
              <a:gd name="connsiteX4" fmla="*/ 0 w 12053455"/>
              <a:gd name="connsiteY4" fmla="*/ 0 h 447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447120">
                <a:moveTo>
                  <a:pt x="0" y="0"/>
                </a:moveTo>
                <a:lnTo>
                  <a:pt x="12053455" y="0"/>
                </a:lnTo>
                <a:lnTo>
                  <a:pt x="12053455" y="447120"/>
                </a:lnTo>
                <a:lnTo>
                  <a:pt x="0" y="4471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Combining data visualization, text, and interactive elements to present complex information clearly.</a:t>
            </a:r>
          </a:p>
        </p:txBody>
      </p:sp>
      <p:sp>
        <p:nvSpPr>
          <p:cNvPr id="11" name="Rectangle: Rounded Corners 10">
            <a:extLst>
              <a:ext uri="{FF2B5EF4-FFF2-40B4-BE49-F238E27FC236}">
                <a16:creationId xmlns:a16="http://schemas.microsoft.com/office/drawing/2014/main" id="{50BBD19E-022A-97CC-09E8-BBA18B239CC2}"/>
              </a:ext>
            </a:extLst>
          </p:cNvPr>
          <p:cNvSpPr/>
          <p:nvPr/>
        </p:nvSpPr>
        <p:spPr>
          <a:xfrm>
            <a:off x="8669215" y="1"/>
            <a:ext cx="3522785" cy="149501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algn="ctr"/>
            <a:r>
              <a:rPr lang="en-US" sz="2800" dirty="0"/>
              <a:t>Multimodal Content</a:t>
            </a:r>
          </a:p>
        </p:txBody>
      </p:sp>
      <p:pic>
        <p:nvPicPr>
          <p:cNvPr id="12" name="Graphic 11" descr="Document with solid fill">
            <a:extLst>
              <a:ext uri="{FF2B5EF4-FFF2-40B4-BE49-F238E27FC236}">
                <a16:creationId xmlns:a16="http://schemas.microsoft.com/office/drawing/2014/main" id="{C5D4DD54-776C-5311-5786-E8A1A9D265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37963" y="570546"/>
            <a:ext cx="477000" cy="477159"/>
          </a:xfrm>
          <a:prstGeom prst="rect">
            <a:avLst/>
          </a:prstGeom>
        </p:spPr>
      </p:pic>
      <p:pic>
        <p:nvPicPr>
          <p:cNvPr id="13" name="Graphic 12" descr="Volume with solid fill">
            <a:extLst>
              <a:ext uri="{FF2B5EF4-FFF2-40B4-BE49-F238E27FC236}">
                <a16:creationId xmlns:a16="http://schemas.microsoft.com/office/drawing/2014/main" id="{8DE8A68E-21DD-BD7F-DF9C-6EF8763B6AE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44751" y="570546"/>
            <a:ext cx="477000" cy="477159"/>
          </a:xfrm>
          <a:prstGeom prst="rect">
            <a:avLst/>
          </a:prstGeom>
        </p:spPr>
      </p:pic>
      <p:pic>
        <p:nvPicPr>
          <p:cNvPr id="14" name="Graphic 13" descr="Eye with solid fill">
            <a:extLst>
              <a:ext uri="{FF2B5EF4-FFF2-40B4-BE49-F238E27FC236}">
                <a16:creationId xmlns:a16="http://schemas.microsoft.com/office/drawing/2014/main" id="{CF1A30DA-9B5E-BCA5-73FC-0023100892D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157352" y="570546"/>
            <a:ext cx="477000" cy="477159"/>
          </a:xfrm>
          <a:prstGeom prst="rect">
            <a:avLst/>
          </a:prstGeom>
        </p:spPr>
      </p:pic>
      <p:sp>
        <p:nvSpPr>
          <p:cNvPr id="15" name="Rectangle 14">
            <a:extLst>
              <a:ext uri="{FF2B5EF4-FFF2-40B4-BE49-F238E27FC236}">
                <a16:creationId xmlns:a16="http://schemas.microsoft.com/office/drawing/2014/main" id="{9324571A-1110-0D99-DF9A-F5ADA9D786D1}"/>
              </a:ext>
            </a:extLst>
          </p:cNvPr>
          <p:cNvSpPr/>
          <p:nvPr/>
        </p:nvSpPr>
        <p:spPr>
          <a:xfrm>
            <a:off x="9061485" y="1047705"/>
            <a:ext cx="790307" cy="31369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Read</a:t>
            </a:r>
          </a:p>
        </p:txBody>
      </p:sp>
      <p:sp>
        <p:nvSpPr>
          <p:cNvPr id="16" name="Rectangle 15">
            <a:extLst>
              <a:ext uri="{FF2B5EF4-FFF2-40B4-BE49-F238E27FC236}">
                <a16:creationId xmlns:a16="http://schemas.microsoft.com/office/drawing/2014/main" id="{A01DBE72-DA2D-E5E6-BA8F-23ABFE6B363A}"/>
              </a:ext>
            </a:extLst>
          </p:cNvPr>
          <p:cNvSpPr/>
          <p:nvPr/>
        </p:nvSpPr>
        <p:spPr>
          <a:xfrm>
            <a:off x="10046554" y="1047705"/>
            <a:ext cx="790307" cy="31369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Listen</a:t>
            </a:r>
          </a:p>
        </p:txBody>
      </p:sp>
      <p:sp>
        <p:nvSpPr>
          <p:cNvPr id="17" name="Rectangle 16">
            <a:extLst>
              <a:ext uri="{FF2B5EF4-FFF2-40B4-BE49-F238E27FC236}">
                <a16:creationId xmlns:a16="http://schemas.microsoft.com/office/drawing/2014/main" id="{690C0B8E-88BA-2EEB-6AC0-67F8F6BD7462}"/>
              </a:ext>
            </a:extLst>
          </p:cNvPr>
          <p:cNvSpPr/>
          <p:nvPr/>
        </p:nvSpPr>
        <p:spPr>
          <a:xfrm>
            <a:off x="11000698" y="1047705"/>
            <a:ext cx="790307" cy="31369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atch</a:t>
            </a:r>
          </a:p>
        </p:txBody>
      </p:sp>
      <p:pic>
        <p:nvPicPr>
          <p:cNvPr id="26" name="Slide3">
            <a:hlinkClick r:id="" action="ppaction://media"/>
            <a:extLst>
              <a:ext uri="{FF2B5EF4-FFF2-40B4-BE49-F238E27FC236}">
                <a16:creationId xmlns:a16="http://schemas.microsoft.com/office/drawing/2014/main" id="{2DC9E0B3-A9CB-2897-E682-9F6BA65DEBB1}"/>
              </a:ext>
            </a:extLst>
          </p:cNvPr>
          <p:cNvPicPr>
            <a:picLocks noChangeAspect="1"/>
          </p:cNvPicPr>
          <p:nvPr>
            <a:audioFile r:link="rId3"/>
            <p:extLst>
              <p:ext uri="{DAA4B4D4-6D71-4841-9C94-3DE7FCFB9230}">
                <p14:media xmlns:p14="http://schemas.microsoft.com/office/powerpoint/2010/main" r:embed="rId2"/>
              </p:ext>
            </p:extLst>
          </p:nvPr>
        </p:nvPicPr>
        <p:blipFill>
          <a:blip r:embed="rId12"/>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1479168164"/>
      </p:ext>
    </p:extLst>
  </p:cSld>
  <p:clrMapOvr>
    <a:masterClrMapping/>
  </p:clrMapOvr>
  <mc:AlternateContent xmlns:mc="http://schemas.openxmlformats.org/markup-compatibility/2006">
    <mc:Choice xmlns:p14="http://schemas.microsoft.com/office/powerpoint/2010/main" Requires="p14">
      <p:transition p14:dur="0" advTm="51911"/>
    </mc:Choice>
    <mc:Fallback>
      <p:transition advTm="5191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26"/>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26"/>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500"/>
                                        <p:tgtEl>
                                          <p:spTgt spid="1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50" fill="hold" display="0">
                  <p:stCondLst>
                    <p:cond delay="indefinite"/>
                  </p:stCondLst>
                  <p:endCondLst>
                    <p:cond evt="onStopAudio" delay="0">
                      <p:tgtEl>
                        <p:sldTgt/>
                      </p:tgtEl>
                    </p:cond>
                  </p:endCondLst>
                </p:cTn>
                <p:tgtEl>
                  <p:spTgt spid="26"/>
                </p:tgtEl>
              </p:cMediaNode>
            </p:audio>
          </p:childTnLst>
        </p:cTn>
      </p:par>
    </p:tnLst>
    <p:bldLst>
      <p:bldP spid="3" grpId="0" animBg="1" autoUpdateAnimBg="0"/>
      <p:bldP spid="6" grpId="0" autoUpdateAnimBg="0"/>
      <p:bldP spid="9" grpId="0" animBg="1" autoUpdateAnimBg="0"/>
      <p:bldP spid="18" grpId="0" autoUpdateAnimBg="0"/>
      <p:bldP spid="19" grpId="0" animBg="1" autoUpdateAnimBg="0"/>
      <p:bldP spid="20" grpId="0" autoUpdateAnimBg="0"/>
      <p:bldP spid="21" grpId="0" animBg="1" autoUpdateAnimBg="0"/>
      <p:bldP spid="22" grpId="0" autoUpdateAnimBg="0"/>
      <p:bldP spid="23" grpId="0" animBg="1" autoUpdateAnimBg="0"/>
      <p:bldP spid="24" grpId="0" autoUpdateAnimBg="0"/>
    </p:bld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SectionNameTextPlaceholder">
            <a:extLst>
              <a:ext uri="{FF2B5EF4-FFF2-40B4-BE49-F238E27FC236}">
                <a16:creationId xmlns:a16="http://schemas.microsoft.com/office/drawing/2014/main" id="{457F4BBA-38C4-D64E-D80B-1EAAF02DFFE4}"/>
              </a:ext>
            </a:extLst>
          </p:cNvPr>
          <p:cNvSpPr>
            <a:spLocks noGrp="1"/>
          </p:cNvSpPr>
          <p:nvPr>
            <p:ph type="body" idx="1"/>
          </p:nvPr>
        </p:nvSpPr>
        <p:spPr>
          <a:xfrm>
            <a:off x="6" y="6536608"/>
            <a:ext cx="4128655" cy="313241"/>
          </a:xfrm>
        </p:spPr>
        <p:txBody>
          <a:bodyPr/>
          <a:lstStyle/>
          <a:p>
            <a:r>
              <a:rPr lang="en-US" dirty="0"/>
              <a:t>Text-to-Speech with Roger - a Male Voice</a:t>
            </a:r>
          </a:p>
        </p:txBody>
      </p:sp>
      <p:sp>
        <p:nvSpPr>
          <p:cNvPr id="4" name="Title 3">
            <a:extLst>
              <a:ext uri="{FF2B5EF4-FFF2-40B4-BE49-F238E27FC236}">
                <a16:creationId xmlns:a16="http://schemas.microsoft.com/office/drawing/2014/main" id="{B61EBD97-1394-7D6D-7D85-3DCDC9E0D59F}"/>
              </a:ext>
            </a:extLst>
          </p:cNvPr>
          <p:cNvSpPr>
            <a:spLocks noGrp="1"/>
          </p:cNvSpPr>
          <p:nvPr>
            <p:ph type="title"/>
          </p:nvPr>
        </p:nvSpPr>
        <p:spPr/>
        <p:txBody>
          <a:bodyPr>
            <a:normAutofit/>
          </a:bodyPr>
          <a:lstStyle/>
          <a:p>
            <a:r>
              <a:rPr lang="en-US" sz="2800" b="1" dirty="0"/>
              <a:t>Why should you create Multimodal Content?</a:t>
            </a:r>
          </a:p>
        </p:txBody>
      </p:sp>
      <p:sp>
        <p:nvSpPr>
          <p:cNvPr id="7" name="Text Placeholder 6">
            <a:extLst>
              <a:ext uri="{FF2B5EF4-FFF2-40B4-BE49-F238E27FC236}">
                <a16:creationId xmlns:a16="http://schemas.microsoft.com/office/drawing/2014/main" id="{E88F544A-A7A8-B0CD-31D7-0158F9C4BBCF}"/>
              </a:ext>
            </a:extLst>
          </p:cNvPr>
          <p:cNvSpPr>
            <a:spLocks noGrp="1"/>
          </p:cNvSpPr>
          <p:nvPr>
            <p:ph type="body" sz="quarter" idx="3"/>
          </p:nvPr>
        </p:nvSpPr>
        <p:spPr/>
        <p:txBody>
          <a:bodyPr/>
          <a:lstStyle/>
          <a:p>
            <a:endParaRPr lang="en-US" dirty="0"/>
          </a:p>
        </p:txBody>
      </p:sp>
      <p:sp>
        <p:nvSpPr>
          <p:cNvPr id="6" name="Content Placeholder 5">
            <a:extLst>
              <a:ext uri="{FF2B5EF4-FFF2-40B4-BE49-F238E27FC236}">
                <a16:creationId xmlns:a16="http://schemas.microsoft.com/office/drawing/2014/main" id="{198A4A14-ADE2-76A5-2FB0-FE9A66C366FE}"/>
              </a:ext>
            </a:extLst>
          </p:cNvPr>
          <p:cNvSpPr>
            <a:spLocks noGrp="1"/>
          </p:cNvSpPr>
          <p:nvPr>
            <p:ph sz="half" idx="2"/>
          </p:nvPr>
        </p:nvSpPr>
        <p:spPr/>
        <p:txBody>
          <a:bodyPr>
            <a:normAutofit/>
          </a:bodyPr>
          <a:lstStyle/>
          <a:p>
            <a:pPr marL="0" indent="0" algn="ctr">
              <a:buNone/>
            </a:pPr>
            <a:r>
              <a:rPr lang="en-US" sz="5400" dirty="0"/>
              <a:t>“The world is moving to a place where content needs to be in </a:t>
            </a:r>
            <a:r>
              <a:rPr lang="en-US" sz="5400" b="1" dirty="0"/>
              <a:t>multiple forms</a:t>
            </a:r>
            <a:r>
              <a:rPr lang="en-US" sz="5400" dirty="0"/>
              <a:t> because consumers are consuming content in </a:t>
            </a:r>
            <a:r>
              <a:rPr lang="en-US" sz="5400" b="1" dirty="0"/>
              <a:t>multiple ways</a:t>
            </a:r>
            <a:r>
              <a:rPr lang="en-US" sz="5400" dirty="0"/>
              <a:t>.”</a:t>
            </a:r>
          </a:p>
          <a:p>
            <a:pPr marL="0" indent="0" algn="ctr">
              <a:buNone/>
            </a:pPr>
            <a:r>
              <a:rPr lang="en-US" sz="4400" dirty="0"/>
              <a:t>Gary </a:t>
            </a:r>
            <a:r>
              <a:rPr lang="en-US" sz="4400" dirty="0" err="1"/>
              <a:t>Vaynerchuk</a:t>
            </a:r>
            <a:endParaRPr lang="en-US" sz="4400" dirty="0"/>
          </a:p>
        </p:txBody>
      </p:sp>
      <p:sp>
        <p:nvSpPr>
          <p:cNvPr id="28" name="Rectangle: Rounded Corners 27">
            <a:extLst>
              <a:ext uri="{FF2B5EF4-FFF2-40B4-BE49-F238E27FC236}">
                <a16:creationId xmlns:a16="http://schemas.microsoft.com/office/drawing/2014/main" id="{D9A4150F-08E3-E4E1-27E4-717A96F99449}"/>
              </a:ext>
            </a:extLst>
          </p:cNvPr>
          <p:cNvSpPr/>
          <p:nvPr/>
        </p:nvSpPr>
        <p:spPr>
          <a:xfrm>
            <a:off x="272875" y="4591049"/>
            <a:ext cx="5302548"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t>Overwhelmed?</a:t>
            </a:r>
          </a:p>
        </p:txBody>
      </p:sp>
      <p:sp>
        <p:nvSpPr>
          <p:cNvPr id="29" name="Rectangle: Rounded Corners 28">
            <a:extLst>
              <a:ext uri="{FF2B5EF4-FFF2-40B4-BE49-F238E27FC236}">
                <a16:creationId xmlns:a16="http://schemas.microsoft.com/office/drawing/2014/main" id="{0821611F-C028-B967-A0DD-B03EA7BBE23C}"/>
              </a:ext>
            </a:extLst>
          </p:cNvPr>
          <p:cNvSpPr/>
          <p:nvPr/>
        </p:nvSpPr>
        <p:spPr>
          <a:xfrm>
            <a:off x="270338" y="5250446"/>
            <a:ext cx="5302548"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t>How many different tools do I need?</a:t>
            </a:r>
          </a:p>
        </p:txBody>
      </p:sp>
      <p:sp>
        <p:nvSpPr>
          <p:cNvPr id="30" name="Rectangle: Rounded Corners 29">
            <a:extLst>
              <a:ext uri="{FF2B5EF4-FFF2-40B4-BE49-F238E27FC236}">
                <a16:creationId xmlns:a16="http://schemas.microsoft.com/office/drawing/2014/main" id="{9979C6BD-F06D-A2A8-DD3C-44CF979DF80C}"/>
              </a:ext>
            </a:extLst>
          </p:cNvPr>
          <p:cNvSpPr/>
          <p:nvPr/>
        </p:nvSpPr>
        <p:spPr>
          <a:xfrm>
            <a:off x="270338" y="5909843"/>
            <a:ext cx="5302548"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t>What is the effort involved?</a:t>
            </a:r>
          </a:p>
        </p:txBody>
      </p:sp>
      <p:pic>
        <p:nvPicPr>
          <p:cNvPr id="31" name="Content Placeholder 17" descr="A close up of a sign&#10;&#10;Description automatically generated">
            <a:extLst>
              <a:ext uri="{FF2B5EF4-FFF2-40B4-BE49-F238E27FC236}">
                <a16:creationId xmlns:a16="http://schemas.microsoft.com/office/drawing/2014/main" id="{F95D4DDE-1258-ADCA-957B-2AA69495271F}"/>
              </a:ext>
            </a:extLst>
          </p:cNvPr>
          <p:cNvPicPr>
            <a:picLocks noChangeAspect="1"/>
          </p:cNvPicPr>
          <p:nvPr/>
        </p:nvPicPr>
        <p:blipFill>
          <a:blip r:embed="rId6"/>
          <a:stretch>
            <a:fillRect/>
          </a:stretch>
        </p:blipFill>
        <p:spPr>
          <a:xfrm>
            <a:off x="6225271" y="4535401"/>
            <a:ext cx="5892837" cy="2614946"/>
          </a:xfrm>
          <a:prstGeom prst="rect">
            <a:avLst/>
          </a:prstGeom>
        </p:spPr>
      </p:pic>
      <p:pic>
        <p:nvPicPr>
          <p:cNvPr id="8" name="Slide4">
            <a:hlinkClick r:id="" action="ppaction://media"/>
            <a:extLst>
              <a:ext uri="{FF2B5EF4-FFF2-40B4-BE49-F238E27FC236}">
                <a16:creationId xmlns:a16="http://schemas.microsoft.com/office/drawing/2014/main" id="{514F6D1F-5C26-CD90-81B1-F74D075786E8}"/>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3715884362"/>
      </p:ext>
    </p:extLst>
  </p:cSld>
  <p:clrMapOvr>
    <a:masterClrMapping/>
  </p:clrMapOvr>
  <mc:AlternateContent xmlns:mc="http://schemas.openxmlformats.org/markup-compatibility/2006">
    <mc:Choice xmlns:p14="http://schemas.microsoft.com/office/powerpoint/2010/main" Requires="p14">
      <p:transition spd="slow" p14:dur="2000" advTm="32903"/>
    </mc:Choice>
    <mc:Fallback>
      <p:transition spd="slow" advTm="3290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8"/>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8"/>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0" fill="hold" display="0">
                  <p:stCondLst>
                    <p:cond delay="indefinite"/>
                  </p:stCondLst>
                  <p:endCondLst>
                    <p:cond evt="onStopAudio" delay="0">
                      <p:tgtEl>
                        <p:sldTgt/>
                      </p:tgtEl>
                    </p:cond>
                  </p:endCondLst>
                </p:cTn>
                <p:tgtEl>
                  <p:spTgt spid="8"/>
                </p:tgtEl>
              </p:cMediaNode>
            </p:audio>
          </p:childTnLst>
        </p:cTn>
      </p:par>
    </p:tnLst>
    <p:bldLst>
      <p:bldP spid="6" grpId="0" autoUpdateAnimBg="0"/>
      <p:bldP spid="28" grpId="0" animBg="1" autoUpdateAnimBg="0"/>
      <p:bldP spid="29" grpId="0" animBg="1" autoUpdateAnimBg="0"/>
      <p:bldP spid="30" grpId="0" animBg="1"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4D3B7F12-4F8B-68B8-B250-E5EF1A5703C9}"/>
              </a:ext>
            </a:extLst>
          </p:cNvPr>
          <p:cNvSpPr/>
          <p:nvPr/>
        </p:nvSpPr>
        <p:spPr>
          <a:xfrm>
            <a:off x="8551566" y="743041"/>
            <a:ext cx="3274292" cy="4910236"/>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652D06D5-C22F-70C8-F420-328171DE0607}"/>
              </a:ext>
            </a:extLst>
          </p:cNvPr>
          <p:cNvSpPr/>
          <p:nvPr/>
        </p:nvSpPr>
        <p:spPr>
          <a:xfrm>
            <a:off x="4457062" y="743041"/>
            <a:ext cx="3274292" cy="4910237"/>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3906ED3F-F27C-A111-5059-26EA44ADD0E3}"/>
              </a:ext>
            </a:extLst>
          </p:cNvPr>
          <p:cNvSpPr/>
          <p:nvPr/>
        </p:nvSpPr>
        <p:spPr>
          <a:xfrm>
            <a:off x="362557" y="744112"/>
            <a:ext cx="3274292" cy="4910239"/>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ectionNameTextPlaceholder">
            <a:extLst>
              <a:ext uri="{FF2B5EF4-FFF2-40B4-BE49-F238E27FC236}">
                <a16:creationId xmlns:a16="http://schemas.microsoft.com/office/drawing/2014/main" id="{0C7AE72B-6AB6-3EFC-5F9E-86CAF07E2FA7}"/>
              </a:ext>
            </a:extLst>
          </p:cNvPr>
          <p:cNvSpPr>
            <a:spLocks noGrp="1"/>
          </p:cNvSpPr>
          <p:nvPr>
            <p:ph type="body" idx="1"/>
          </p:nvPr>
        </p:nvSpPr>
        <p:spPr/>
        <p:txBody>
          <a:bodyPr/>
          <a:lstStyle/>
          <a:p>
            <a:r>
              <a:rPr lang="en-US" dirty="0"/>
              <a:t>Text-to-Speech with Jenny - a Female Voice</a:t>
            </a:r>
          </a:p>
        </p:txBody>
      </p:sp>
      <p:sp>
        <p:nvSpPr>
          <p:cNvPr id="4" name="Title 3" hidden="1">
            <a:extLst>
              <a:ext uri="{FF2B5EF4-FFF2-40B4-BE49-F238E27FC236}">
                <a16:creationId xmlns:a16="http://schemas.microsoft.com/office/drawing/2014/main" id="{F9D699A0-C6AA-33D2-1B78-978C1CBF88A3}"/>
              </a:ext>
            </a:extLst>
          </p:cNvPr>
          <p:cNvSpPr>
            <a:spLocks noGrp="1"/>
          </p:cNvSpPr>
          <p:nvPr>
            <p:ph type="title"/>
          </p:nvPr>
        </p:nvSpPr>
        <p:spPr/>
        <p:txBody>
          <a:bodyPr/>
          <a:lstStyle/>
          <a:p>
            <a:r>
              <a:rPr lang="en-US" dirty="0"/>
              <a:t>The Problem</a:t>
            </a:r>
          </a:p>
        </p:txBody>
      </p:sp>
      <p:sp>
        <p:nvSpPr>
          <p:cNvPr id="7" name="Text Placeholder 6">
            <a:extLst>
              <a:ext uri="{FF2B5EF4-FFF2-40B4-BE49-F238E27FC236}">
                <a16:creationId xmlns:a16="http://schemas.microsoft.com/office/drawing/2014/main" id="{A6C57BC0-ECCB-A695-BDD1-E5476A537B4D}"/>
              </a:ext>
            </a:extLst>
          </p:cNvPr>
          <p:cNvSpPr>
            <a:spLocks noGrp="1"/>
          </p:cNvSpPr>
          <p:nvPr>
            <p:ph type="body" sz="quarter" idx="3"/>
          </p:nvPr>
        </p:nvSpPr>
        <p:spPr/>
        <p:txBody>
          <a:bodyPr/>
          <a:lstStyle/>
          <a:p>
            <a:endParaRPr lang="en-US" dirty="0"/>
          </a:p>
        </p:txBody>
      </p:sp>
      <p:sp>
        <p:nvSpPr>
          <p:cNvPr id="6" name="Content Placeholder 5" hidden="1">
            <a:extLst>
              <a:ext uri="{FF2B5EF4-FFF2-40B4-BE49-F238E27FC236}">
                <a16:creationId xmlns:a16="http://schemas.microsoft.com/office/drawing/2014/main" id="{ECE59E78-F5A9-C812-CF3C-C538BFE3241E}"/>
              </a:ext>
            </a:extLst>
          </p:cNvPr>
          <p:cNvSpPr>
            <a:spLocks noGrp="1"/>
          </p:cNvSpPr>
          <p:nvPr>
            <p:ph sz="half" idx="2"/>
          </p:nvPr>
        </p:nvSpPr>
        <p:spPr/>
        <p:txBody>
          <a:bodyPr/>
          <a:lstStyle/>
          <a:p>
            <a:endParaRPr lang="en-US"/>
          </a:p>
        </p:txBody>
      </p:sp>
      <p:sp>
        <p:nvSpPr>
          <p:cNvPr id="8" name="Rectangle: Rounded Corners 7">
            <a:extLst>
              <a:ext uri="{FF2B5EF4-FFF2-40B4-BE49-F238E27FC236}">
                <a16:creationId xmlns:a16="http://schemas.microsoft.com/office/drawing/2014/main" id="{FF4DC1DB-DFF1-4A72-3A52-303702BFD175}"/>
              </a:ext>
            </a:extLst>
          </p:cNvPr>
          <p:cNvSpPr/>
          <p:nvPr/>
        </p:nvSpPr>
        <p:spPr>
          <a:xfrm>
            <a:off x="4742986" y="2266420"/>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Blog Post</a:t>
            </a:r>
          </a:p>
        </p:txBody>
      </p:sp>
      <p:sp>
        <p:nvSpPr>
          <p:cNvPr id="9" name="Rectangle: Rounded Corners 8">
            <a:extLst>
              <a:ext uri="{FF2B5EF4-FFF2-40B4-BE49-F238E27FC236}">
                <a16:creationId xmlns:a16="http://schemas.microsoft.com/office/drawing/2014/main" id="{BAB15368-4B64-D7B7-9229-5D339C0BC18B}"/>
              </a:ext>
            </a:extLst>
          </p:cNvPr>
          <p:cNvSpPr/>
          <p:nvPr/>
        </p:nvSpPr>
        <p:spPr>
          <a:xfrm>
            <a:off x="4742974" y="289982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Documentation Article</a:t>
            </a:r>
          </a:p>
        </p:txBody>
      </p:sp>
      <p:sp>
        <p:nvSpPr>
          <p:cNvPr id="10" name="Rectangle: Rounded Corners 9">
            <a:extLst>
              <a:ext uri="{FF2B5EF4-FFF2-40B4-BE49-F238E27FC236}">
                <a16:creationId xmlns:a16="http://schemas.microsoft.com/office/drawing/2014/main" id="{40F09698-155A-0B36-81E3-E1E4D9BB01F8}"/>
              </a:ext>
            </a:extLst>
          </p:cNvPr>
          <p:cNvSpPr/>
          <p:nvPr/>
        </p:nvSpPr>
        <p:spPr>
          <a:xfrm>
            <a:off x="4742987" y="4162311"/>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Audio File (.mp3)</a:t>
            </a:r>
          </a:p>
        </p:txBody>
      </p:sp>
      <p:sp>
        <p:nvSpPr>
          <p:cNvPr id="11" name="Rectangle: Rounded Corners 10">
            <a:extLst>
              <a:ext uri="{FF2B5EF4-FFF2-40B4-BE49-F238E27FC236}">
                <a16:creationId xmlns:a16="http://schemas.microsoft.com/office/drawing/2014/main" id="{753A0502-37B3-F31C-6AAD-845E34F092DF}"/>
              </a:ext>
            </a:extLst>
          </p:cNvPr>
          <p:cNvSpPr/>
          <p:nvPr/>
        </p:nvSpPr>
        <p:spPr>
          <a:xfrm>
            <a:off x="4742987" y="352720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Video File (.mp4)</a:t>
            </a:r>
          </a:p>
        </p:txBody>
      </p:sp>
      <p:sp>
        <p:nvSpPr>
          <p:cNvPr id="12" name="Rectangle: Rounded Corners 11">
            <a:extLst>
              <a:ext uri="{FF2B5EF4-FFF2-40B4-BE49-F238E27FC236}">
                <a16:creationId xmlns:a16="http://schemas.microsoft.com/office/drawing/2014/main" id="{FDBDFA76-E672-0491-D0BF-C680C1EAEE46}"/>
              </a:ext>
            </a:extLst>
          </p:cNvPr>
          <p:cNvSpPr/>
          <p:nvPr/>
        </p:nvSpPr>
        <p:spPr>
          <a:xfrm>
            <a:off x="4742987" y="4790094"/>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Online Presentation</a:t>
            </a:r>
          </a:p>
        </p:txBody>
      </p:sp>
      <p:sp>
        <p:nvSpPr>
          <p:cNvPr id="13" name="Rectangle: Rounded Corners 12">
            <a:extLst>
              <a:ext uri="{FF2B5EF4-FFF2-40B4-BE49-F238E27FC236}">
                <a16:creationId xmlns:a16="http://schemas.microsoft.com/office/drawing/2014/main" id="{3DD71CFE-F254-8FBF-2E37-63A9CEF8D329}"/>
              </a:ext>
            </a:extLst>
          </p:cNvPr>
          <p:cNvSpPr/>
          <p:nvPr/>
        </p:nvSpPr>
        <p:spPr>
          <a:xfrm>
            <a:off x="8555136" y="800092"/>
            <a:ext cx="3274293"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Publish</a:t>
            </a:r>
          </a:p>
        </p:txBody>
      </p:sp>
      <p:sp>
        <p:nvSpPr>
          <p:cNvPr id="14" name="Rectangle: Rounded Corners 13">
            <a:extLst>
              <a:ext uri="{FF2B5EF4-FFF2-40B4-BE49-F238E27FC236}">
                <a16:creationId xmlns:a16="http://schemas.microsoft.com/office/drawing/2014/main" id="{420C6737-9F92-3FFB-BED9-68DC065F7B23}"/>
              </a:ext>
            </a:extLst>
          </p:cNvPr>
          <p:cNvSpPr/>
          <p:nvPr/>
        </p:nvSpPr>
        <p:spPr>
          <a:xfrm>
            <a:off x="646691" y="2266420"/>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Web Page Editor</a:t>
            </a:r>
          </a:p>
        </p:txBody>
      </p:sp>
      <p:sp>
        <p:nvSpPr>
          <p:cNvPr id="15" name="Rectangle: Rounded Corners 14">
            <a:extLst>
              <a:ext uri="{FF2B5EF4-FFF2-40B4-BE49-F238E27FC236}">
                <a16:creationId xmlns:a16="http://schemas.microsoft.com/office/drawing/2014/main" id="{18F8267A-3B53-9FA7-F077-7A3000989213}"/>
              </a:ext>
            </a:extLst>
          </p:cNvPr>
          <p:cNvSpPr/>
          <p:nvPr/>
        </p:nvSpPr>
        <p:spPr>
          <a:xfrm>
            <a:off x="646679" y="2899825"/>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Markdown Editor</a:t>
            </a:r>
          </a:p>
        </p:txBody>
      </p:sp>
      <p:sp>
        <p:nvSpPr>
          <p:cNvPr id="16" name="Rectangle: Rounded Corners 15">
            <a:extLst>
              <a:ext uri="{FF2B5EF4-FFF2-40B4-BE49-F238E27FC236}">
                <a16:creationId xmlns:a16="http://schemas.microsoft.com/office/drawing/2014/main" id="{3A1731E7-2DB6-5BA1-2AD5-DAE30EBD705B}"/>
              </a:ext>
            </a:extLst>
          </p:cNvPr>
          <p:cNvSpPr/>
          <p:nvPr/>
        </p:nvSpPr>
        <p:spPr>
          <a:xfrm>
            <a:off x="646690" y="4790094"/>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Slides Editor</a:t>
            </a:r>
          </a:p>
        </p:txBody>
      </p:sp>
      <p:sp>
        <p:nvSpPr>
          <p:cNvPr id="17" name="Rectangle: Rounded Corners 16">
            <a:extLst>
              <a:ext uri="{FF2B5EF4-FFF2-40B4-BE49-F238E27FC236}">
                <a16:creationId xmlns:a16="http://schemas.microsoft.com/office/drawing/2014/main" id="{2AD2003A-F5A4-A6AB-3625-E28DD5E978F8}"/>
              </a:ext>
            </a:extLst>
          </p:cNvPr>
          <p:cNvSpPr/>
          <p:nvPr/>
        </p:nvSpPr>
        <p:spPr>
          <a:xfrm>
            <a:off x="646691" y="4162311"/>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Audio Editor</a:t>
            </a:r>
          </a:p>
        </p:txBody>
      </p:sp>
      <p:sp>
        <p:nvSpPr>
          <p:cNvPr id="18" name="Rectangle: Rounded Corners 17">
            <a:extLst>
              <a:ext uri="{FF2B5EF4-FFF2-40B4-BE49-F238E27FC236}">
                <a16:creationId xmlns:a16="http://schemas.microsoft.com/office/drawing/2014/main" id="{9B86F8CA-417C-A86E-CEF3-5641098BCF6E}"/>
              </a:ext>
            </a:extLst>
          </p:cNvPr>
          <p:cNvSpPr/>
          <p:nvPr/>
        </p:nvSpPr>
        <p:spPr>
          <a:xfrm>
            <a:off x="646679" y="3527205"/>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Video Editor</a:t>
            </a:r>
          </a:p>
        </p:txBody>
      </p:sp>
      <p:sp>
        <p:nvSpPr>
          <p:cNvPr id="19" name="Rectangle: Rounded Corners 18">
            <a:extLst>
              <a:ext uri="{FF2B5EF4-FFF2-40B4-BE49-F238E27FC236}">
                <a16:creationId xmlns:a16="http://schemas.microsoft.com/office/drawing/2014/main" id="{5727D9AE-1C1E-1743-CDB3-B9081B750C63}"/>
              </a:ext>
            </a:extLst>
          </p:cNvPr>
          <p:cNvSpPr/>
          <p:nvPr/>
        </p:nvSpPr>
        <p:spPr>
          <a:xfrm>
            <a:off x="8839268" y="2266420"/>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Blog Website</a:t>
            </a:r>
          </a:p>
        </p:txBody>
      </p:sp>
      <p:sp>
        <p:nvSpPr>
          <p:cNvPr id="20" name="Rectangle: Rounded Corners 19">
            <a:extLst>
              <a:ext uri="{FF2B5EF4-FFF2-40B4-BE49-F238E27FC236}">
                <a16:creationId xmlns:a16="http://schemas.microsoft.com/office/drawing/2014/main" id="{53583CDD-EE13-226E-CAFB-DDA53BB029E8}"/>
              </a:ext>
            </a:extLst>
          </p:cNvPr>
          <p:cNvSpPr/>
          <p:nvPr/>
        </p:nvSpPr>
        <p:spPr>
          <a:xfrm>
            <a:off x="8839269" y="289982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Documentation Wiki</a:t>
            </a:r>
          </a:p>
        </p:txBody>
      </p:sp>
      <p:sp>
        <p:nvSpPr>
          <p:cNvPr id="21" name="Rectangle: Rounded Corners 20">
            <a:extLst>
              <a:ext uri="{FF2B5EF4-FFF2-40B4-BE49-F238E27FC236}">
                <a16:creationId xmlns:a16="http://schemas.microsoft.com/office/drawing/2014/main" id="{09B859D6-AB52-9033-597A-D18924AC3388}"/>
              </a:ext>
            </a:extLst>
          </p:cNvPr>
          <p:cNvSpPr/>
          <p:nvPr/>
        </p:nvSpPr>
        <p:spPr>
          <a:xfrm>
            <a:off x="8839269" y="4162311"/>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Podcast Platform</a:t>
            </a:r>
          </a:p>
        </p:txBody>
      </p:sp>
      <p:sp>
        <p:nvSpPr>
          <p:cNvPr id="22" name="Rectangle: Rounded Corners 21">
            <a:extLst>
              <a:ext uri="{FF2B5EF4-FFF2-40B4-BE49-F238E27FC236}">
                <a16:creationId xmlns:a16="http://schemas.microsoft.com/office/drawing/2014/main" id="{27327AB1-8F89-EFF0-E1C9-CA5FFEE90878}"/>
              </a:ext>
            </a:extLst>
          </p:cNvPr>
          <p:cNvSpPr/>
          <p:nvPr/>
        </p:nvSpPr>
        <p:spPr>
          <a:xfrm>
            <a:off x="8839269" y="352720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Video Platform</a:t>
            </a:r>
          </a:p>
        </p:txBody>
      </p:sp>
      <p:sp>
        <p:nvSpPr>
          <p:cNvPr id="23" name="Rectangle: Rounded Corners 22">
            <a:extLst>
              <a:ext uri="{FF2B5EF4-FFF2-40B4-BE49-F238E27FC236}">
                <a16:creationId xmlns:a16="http://schemas.microsoft.com/office/drawing/2014/main" id="{6030163C-7BDA-74FC-4266-8C175BA035E5}"/>
              </a:ext>
            </a:extLst>
          </p:cNvPr>
          <p:cNvSpPr/>
          <p:nvPr/>
        </p:nvSpPr>
        <p:spPr>
          <a:xfrm>
            <a:off x="8839269" y="4790094"/>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Slide Sharing Website</a:t>
            </a:r>
          </a:p>
        </p:txBody>
      </p:sp>
      <p:sp>
        <p:nvSpPr>
          <p:cNvPr id="24" name="Rectangle: Rounded Corners 23">
            <a:extLst>
              <a:ext uri="{FF2B5EF4-FFF2-40B4-BE49-F238E27FC236}">
                <a16:creationId xmlns:a16="http://schemas.microsoft.com/office/drawing/2014/main" id="{E40A81FB-F59F-3C0F-581E-874671601EA7}"/>
              </a:ext>
            </a:extLst>
          </p:cNvPr>
          <p:cNvSpPr/>
          <p:nvPr/>
        </p:nvSpPr>
        <p:spPr>
          <a:xfrm>
            <a:off x="646691" y="1636936"/>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Document/Diagram Editor</a:t>
            </a:r>
          </a:p>
        </p:txBody>
      </p:sp>
      <p:sp>
        <p:nvSpPr>
          <p:cNvPr id="25" name="Rectangle: Rounded Corners 24">
            <a:extLst>
              <a:ext uri="{FF2B5EF4-FFF2-40B4-BE49-F238E27FC236}">
                <a16:creationId xmlns:a16="http://schemas.microsoft.com/office/drawing/2014/main" id="{405F920A-D44D-C928-A661-3159163AB5B1}"/>
              </a:ext>
            </a:extLst>
          </p:cNvPr>
          <p:cNvSpPr/>
          <p:nvPr/>
        </p:nvSpPr>
        <p:spPr>
          <a:xfrm>
            <a:off x="4742986" y="1636936"/>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PDF / Images</a:t>
            </a:r>
          </a:p>
        </p:txBody>
      </p:sp>
      <p:sp>
        <p:nvSpPr>
          <p:cNvPr id="26" name="Rectangle: Rounded Corners 25">
            <a:extLst>
              <a:ext uri="{FF2B5EF4-FFF2-40B4-BE49-F238E27FC236}">
                <a16:creationId xmlns:a16="http://schemas.microsoft.com/office/drawing/2014/main" id="{21F0B83E-E08C-E7D6-4FAE-2B20ECED9219}"/>
              </a:ext>
            </a:extLst>
          </p:cNvPr>
          <p:cNvSpPr/>
          <p:nvPr/>
        </p:nvSpPr>
        <p:spPr>
          <a:xfrm>
            <a:off x="8839268" y="1636936"/>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Attach and Send Email</a:t>
            </a:r>
          </a:p>
        </p:txBody>
      </p:sp>
      <p:sp>
        <p:nvSpPr>
          <p:cNvPr id="27" name="Rectangle: Rounded Corners 26">
            <a:extLst>
              <a:ext uri="{FF2B5EF4-FFF2-40B4-BE49-F238E27FC236}">
                <a16:creationId xmlns:a16="http://schemas.microsoft.com/office/drawing/2014/main" id="{4820B031-7C3B-589D-5DC0-6F866DFF436C}"/>
              </a:ext>
            </a:extLst>
          </p:cNvPr>
          <p:cNvSpPr/>
          <p:nvPr/>
        </p:nvSpPr>
        <p:spPr>
          <a:xfrm>
            <a:off x="362558" y="800092"/>
            <a:ext cx="3274292"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Create</a:t>
            </a:r>
          </a:p>
        </p:txBody>
      </p:sp>
      <p:sp>
        <p:nvSpPr>
          <p:cNvPr id="28" name="Rectangle: Rounded Corners 27">
            <a:extLst>
              <a:ext uri="{FF2B5EF4-FFF2-40B4-BE49-F238E27FC236}">
                <a16:creationId xmlns:a16="http://schemas.microsoft.com/office/drawing/2014/main" id="{FAA183A3-4F4C-55E7-99D2-5F17AAE0C9C9}"/>
              </a:ext>
            </a:extLst>
          </p:cNvPr>
          <p:cNvSpPr/>
          <p:nvPr/>
        </p:nvSpPr>
        <p:spPr>
          <a:xfrm>
            <a:off x="4458854" y="800092"/>
            <a:ext cx="3274293"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Convert</a:t>
            </a:r>
          </a:p>
        </p:txBody>
      </p:sp>
      <p:cxnSp>
        <p:nvCxnSpPr>
          <p:cNvPr id="30" name="Straight Arrow Connector 29">
            <a:extLst>
              <a:ext uri="{FF2B5EF4-FFF2-40B4-BE49-F238E27FC236}">
                <a16:creationId xmlns:a16="http://schemas.microsoft.com/office/drawing/2014/main" id="{118ACC7C-710A-538F-B1CB-D365F57CFF03}"/>
              </a:ext>
            </a:extLst>
          </p:cNvPr>
          <p:cNvCxnSpPr>
            <a:cxnSpLocks/>
            <a:stCxn id="27" idx="3"/>
            <a:endCxn id="28" idx="1"/>
          </p:cNvCxnSpPr>
          <p:nvPr/>
        </p:nvCxnSpPr>
        <p:spPr>
          <a:xfrm>
            <a:off x="3636850" y="1096306"/>
            <a:ext cx="822004"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BAF6FCF-809C-D462-511A-50653E67C5F6}"/>
              </a:ext>
            </a:extLst>
          </p:cNvPr>
          <p:cNvCxnSpPr>
            <a:cxnSpLocks/>
            <a:stCxn id="28" idx="3"/>
            <a:endCxn id="13" idx="1"/>
          </p:cNvCxnSpPr>
          <p:nvPr/>
        </p:nvCxnSpPr>
        <p:spPr>
          <a:xfrm>
            <a:off x="7733147" y="1096306"/>
            <a:ext cx="821989"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62381DE2-80F8-107B-4478-3A4EB404DA92}"/>
              </a:ext>
            </a:extLst>
          </p:cNvPr>
          <p:cNvSpPr/>
          <p:nvPr/>
        </p:nvSpPr>
        <p:spPr>
          <a:xfrm>
            <a:off x="4458854" y="5720012"/>
            <a:ext cx="3274293" cy="592428"/>
          </a:xfrm>
          <a:prstGeom prst="roundRect">
            <a:avLst/>
          </a:prstGeom>
          <a:solidFill>
            <a:schemeClr val="accent2"/>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Too Many Outputs</a:t>
            </a:r>
          </a:p>
        </p:txBody>
      </p:sp>
      <p:sp>
        <p:nvSpPr>
          <p:cNvPr id="37" name="Rectangle: Rounded Corners 36">
            <a:extLst>
              <a:ext uri="{FF2B5EF4-FFF2-40B4-BE49-F238E27FC236}">
                <a16:creationId xmlns:a16="http://schemas.microsoft.com/office/drawing/2014/main" id="{CF03144A-10CC-91DF-0E30-6A423D2BEB46}"/>
              </a:ext>
            </a:extLst>
          </p:cNvPr>
          <p:cNvSpPr/>
          <p:nvPr/>
        </p:nvSpPr>
        <p:spPr>
          <a:xfrm>
            <a:off x="362557" y="5720012"/>
            <a:ext cx="3274292" cy="592428"/>
          </a:xfrm>
          <a:prstGeom prst="roundRect">
            <a:avLst/>
          </a:prstGeom>
          <a:solidFill>
            <a:schemeClr val="accent2"/>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Too Many Editors</a:t>
            </a:r>
          </a:p>
        </p:txBody>
      </p:sp>
      <p:sp>
        <p:nvSpPr>
          <p:cNvPr id="38" name="Rectangle: Rounded Corners 37">
            <a:extLst>
              <a:ext uri="{FF2B5EF4-FFF2-40B4-BE49-F238E27FC236}">
                <a16:creationId xmlns:a16="http://schemas.microsoft.com/office/drawing/2014/main" id="{34AC68AC-100F-80D6-39FF-EA13660B5E76}"/>
              </a:ext>
            </a:extLst>
          </p:cNvPr>
          <p:cNvSpPr/>
          <p:nvPr/>
        </p:nvSpPr>
        <p:spPr>
          <a:xfrm>
            <a:off x="8555136" y="5720012"/>
            <a:ext cx="3274293" cy="592428"/>
          </a:xfrm>
          <a:prstGeom prst="roundRect">
            <a:avLst/>
          </a:prstGeom>
          <a:solidFill>
            <a:schemeClr val="accent2"/>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Too Many Ways to Share</a:t>
            </a:r>
          </a:p>
        </p:txBody>
      </p:sp>
      <p:cxnSp>
        <p:nvCxnSpPr>
          <p:cNvPr id="39" name="Straight Arrow Connector 38">
            <a:extLst>
              <a:ext uri="{FF2B5EF4-FFF2-40B4-BE49-F238E27FC236}">
                <a16:creationId xmlns:a16="http://schemas.microsoft.com/office/drawing/2014/main" id="{C1034116-2875-5DD7-6D72-4934F4B90076}"/>
              </a:ext>
            </a:extLst>
          </p:cNvPr>
          <p:cNvCxnSpPr>
            <a:cxnSpLocks/>
            <a:stCxn id="24" idx="3"/>
            <a:endCxn id="25" idx="1"/>
          </p:cNvCxnSpPr>
          <p:nvPr/>
        </p:nvCxnSpPr>
        <p:spPr>
          <a:xfrm>
            <a:off x="3352717" y="1933150"/>
            <a:ext cx="139026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D144A4C4-533F-CD53-692F-751425CF6933}"/>
              </a:ext>
            </a:extLst>
          </p:cNvPr>
          <p:cNvCxnSpPr>
            <a:cxnSpLocks/>
            <a:stCxn id="14" idx="3"/>
            <a:endCxn id="8" idx="1"/>
          </p:cNvCxnSpPr>
          <p:nvPr/>
        </p:nvCxnSpPr>
        <p:spPr>
          <a:xfrm>
            <a:off x="3352717" y="2562634"/>
            <a:ext cx="139026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0D9BAA7-D1DB-2512-4042-D6F4B7BEE8F1}"/>
              </a:ext>
            </a:extLst>
          </p:cNvPr>
          <p:cNvCxnSpPr>
            <a:cxnSpLocks/>
            <a:stCxn id="15" idx="3"/>
            <a:endCxn id="9" idx="1"/>
          </p:cNvCxnSpPr>
          <p:nvPr/>
        </p:nvCxnSpPr>
        <p:spPr>
          <a:xfrm>
            <a:off x="3352705" y="3196039"/>
            <a:ext cx="139026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C80D24E-A908-E5BB-6ABF-09000CD34057}"/>
              </a:ext>
            </a:extLst>
          </p:cNvPr>
          <p:cNvCxnSpPr>
            <a:cxnSpLocks/>
            <a:stCxn id="18" idx="3"/>
            <a:endCxn id="11" idx="1"/>
          </p:cNvCxnSpPr>
          <p:nvPr/>
        </p:nvCxnSpPr>
        <p:spPr>
          <a:xfrm>
            <a:off x="3352705" y="3823419"/>
            <a:ext cx="139028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22F5A749-17FB-E6E9-DFEB-94D2FE993BA8}"/>
              </a:ext>
            </a:extLst>
          </p:cNvPr>
          <p:cNvCxnSpPr>
            <a:cxnSpLocks/>
            <a:stCxn id="17" idx="3"/>
            <a:endCxn id="10" idx="1"/>
          </p:cNvCxnSpPr>
          <p:nvPr/>
        </p:nvCxnSpPr>
        <p:spPr>
          <a:xfrm>
            <a:off x="3352717" y="4458525"/>
            <a:ext cx="139027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72041B19-6A8E-7BEF-C00E-15DF5EB89996}"/>
              </a:ext>
            </a:extLst>
          </p:cNvPr>
          <p:cNvCxnSpPr>
            <a:cxnSpLocks/>
            <a:stCxn id="16" idx="3"/>
            <a:endCxn id="12" idx="1"/>
          </p:cNvCxnSpPr>
          <p:nvPr/>
        </p:nvCxnSpPr>
        <p:spPr>
          <a:xfrm>
            <a:off x="3352716" y="5086308"/>
            <a:ext cx="1390271"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383113A9-9FCF-61E3-AA7F-CD107B240B53}"/>
              </a:ext>
            </a:extLst>
          </p:cNvPr>
          <p:cNvCxnSpPr>
            <a:cxnSpLocks/>
            <a:stCxn id="25" idx="3"/>
            <a:endCxn id="26" idx="1"/>
          </p:cNvCxnSpPr>
          <p:nvPr/>
        </p:nvCxnSpPr>
        <p:spPr>
          <a:xfrm>
            <a:off x="7449012" y="1933150"/>
            <a:ext cx="1390256"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49123BCA-37E1-5FDB-AE2B-47A61026CF25}"/>
              </a:ext>
            </a:extLst>
          </p:cNvPr>
          <p:cNvCxnSpPr>
            <a:cxnSpLocks/>
            <a:stCxn id="8" idx="3"/>
            <a:endCxn id="19" idx="1"/>
          </p:cNvCxnSpPr>
          <p:nvPr/>
        </p:nvCxnSpPr>
        <p:spPr>
          <a:xfrm>
            <a:off x="7449012" y="2562634"/>
            <a:ext cx="1390256"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ED5C419F-92E9-EFE5-108E-C140A2062757}"/>
              </a:ext>
            </a:extLst>
          </p:cNvPr>
          <p:cNvCxnSpPr>
            <a:cxnSpLocks/>
            <a:stCxn id="9" idx="3"/>
            <a:endCxn id="20" idx="1"/>
          </p:cNvCxnSpPr>
          <p:nvPr/>
        </p:nvCxnSpPr>
        <p:spPr>
          <a:xfrm>
            <a:off x="7449001" y="3196039"/>
            <a:ext cx="139026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4E176ED6-4B49-E59C-428C-F71FAF455FE1}"/>
              </a:ext>
            </a:extLst>
          </p:cNvPr>
          <p:cNvCxnSpPr>
            <a:cxnSpLocks/>
            <a:stCxn id="11" idx="3"/>
            <a:endCxn id="22" idx="1"/>
          </p:cNvCxnSpPr>
          <p:nvPr/>
        </p:nvCxnSpPr>
        <p:spPr>
          <a:xfrm>
            <a:off x="7449014" y="3823419"/>
            <a:ext cx="139025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33409F5-1D32-4169-9430-44A694556FCC}"/>
              </a:ext>
            </a:extLst>
          </p:cNvPr>
          <p:cNvCxnSpPr>
            <a:cxnSpLocks/>
            <a:stCxn id="10" idx="3"/>
            <a:endCxn id="21" idx="1"/>
          </p:cNvCxnSpPr>
          <p:nvPr/>
        </p:nvCxnSpPr>
        <p:spPr>
          <a:xfrm>
            <a:off x="7449014" y="4458525"/>
            <a:ext cx="139025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DD4F75D5-4A16-3A4D-EC19-74D53C0EB34E}"/>
              </a:ext>
            </a:extLst>
          </p:cNvPr>
          <p:cNvCxnSpPr>
            <a:cxnSpLocks/>
            <a:stCxn id="12" idx="3"/>
            <a:endCxn id="23" idx="1"/>
          </p:cNvCxnSpPr>
          <p:nvPr/>
        </p:nvCxnSpPr>
        <p:spPr>
          <a:xfrm>
            <a:off x="7449014" y="5086308"/>
            <a:ext cx="139025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3" name="WatchYouTubePicture" descr="http://www.logospike.com/wp-content/uploads/2014/11/Youtube_logo-4.png">
            <a:extLst>
              <a:ext uri="{FF2B5EF4-FFF2-40B4-BE49-F238E27FC236}">
                <a16:creationId xmlns:a16="http://schemas.microsoft.com/office/drawing/2014/main" id="{03542D90-F121-4AF5-B858-B9E89C93087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98023" y="3631186"/>
            <a:ext cx="978744" cy="384465"/>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Designing and Delivering PowerPoint Presentations - Center for Teaching  Excellence | University of South Carolina">
            <a:extLst>
              <a:ext uri="{FF2B5EF4-FFF2-40B4-BE49-F238E27FC236}">
                <a16:creationId xmlns:a16="http://schemas.microsoft.com/office/drawing/2014/main" id="{27BA5A10-E15F-B801-D18B-82684A65EC7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81596" y="4850088"/>
            <a:ext cx="1113606" cy="47244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1C34A4B6-5FC4-4FAB-08BC-627786897ED4}"/>
              </a:ext>
            </a:extLst>
          </p:cNvPr>
          <p:cNvSpPr/>
          <p:nvPr/>
        </p:nvSpPr>
        <p:spPr>
          <a:xfrm>
            <a:off x="362557" y="102218"/>
            <a:ext cx="11463301" cy="592428"/>
          </a:xfrm>
          <a:prstGeom prst="roundRect">
            <a:avLst/>
          </a:prstGeom>
          <a:solidFill>
            <a:schemeClr val="accent2"/>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This is why most of us do not create Multimodal content – it is Too Hard!</a:t>
            </a:r>
          </a:p>
        </p:txBody>
      </p:sp>
      <p:pic>
        <p:nvPicPr>
          <p:cNvPr id="1030" name="Picture 6" descr="Camtasia | Centre for Teaching and Learning">
            <a:extLst>
              <a:ext uri="{FF2B5EF4-FFF2-40B4-BE49-F238E27FC236}">
                <a16:creationId xmlns:a16="http://schemas.microsoft.com/office/drawing/2014/main" id="{1E94D20D-C875-264B-C111-48828753710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98369" y="3656455"/>
            <a:ext cx="1196833" cy="34316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ew Modern But Recognizable Logo - Artwork and Graphics - Audacity Forum">
            <a:extLst>
              <a:ext uri="{FF2B5EF4-FFF2-40B4-BE49-F238E27FC236}">
                <a16:creationId xmlns:a16="http://schemas.microsoft.com/office/drawing/2014/main" id="{8C0E537A-6D66-5C46-6E63-B40B67A14C6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4369" t="32507" r="14632" b="35863"/>
          <a:stretch/>
        </p:blipFill>
        <p:spPr bwMode="auto">
          <a:xfrm>
            <a:off x="2088308" y="4267474"/>
            <a:ext cx="1206894" cy="35844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0EDB9668-920E-6840-FA8A-A636241C985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304" t="11771" r="5304" b="12165"/>
          <a:stretch/>
        </p:blipFill>
        <p:spPr bwMode="auto">
          <a:xfrm>
            <a:off x="10618152" y="4316545"/>
            <a:ext cx="858615" cy="283960"/>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D7FEE04D-7C4B-A6E4-EE0A-3345D53BDB5F}"/>
              </a:ext>
            </a:extLst>
          </p:cNvPr>
          <p:cNvSpPr/>
          <p:nvPr/>
        </p:nvSpPr>
        <p:spPr>
          <a:xfrm>
            <a:off x="10209803" y="2366419"/>
            <a:ext cx="1266964" cy="3791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6" name="Picture 12">
            <a:extLst>
              <a:ext uri="{FF2B5EF4-FFF2-40B4-BE49-F238E27FC236}">
                <a16:creationId xmlns:a16="http://schemas.microsoft.com/office/drawing/2014/main" id="{B18C9089-126D-5CEF-824A-64942B85AC3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232486" y="2416905"/>
            <a:ext cx="1221597" cy="278200"/>
          </a:xfrm>
          <a:prstGeom prst="rect">
            <a:avLst/>
          </a:prstGeom>
          <a:noFill/>
          <a:extLst>
            <a:ext uri="{909E8E84-426E-40DD-AFC4-6F175D3DCCD1}">
              <a14:hiddenFill xmlns:a14="http://schemas.microsoft.com/office/drawing/2010/main">
                <a:solidFill>
                  <a:srgbClr val="FFFFFF"/>
                </a:solidFill>
              </a14:hiddenFill>
            </a:ext>
          </a:extLst>
        </p:spPr>
      </p:pic>
      <p:pic>
        <p:nvPicPr>
          <p:cNvPr id="33" name="Slide5">
            <a:hlinkClick r:id="" action="ppaction://media"/>
            <a:extLst>
              <a:ext uri="{FF2B5EF4-FFF2-40B4-BE49-F238E27FC236}">
                <a16:creationId xmlns:a16="http://schemas.microsoft.com/office/drawing/2014/main" id="{390B17C9-621A-7960-06FF-3C35651CEB4D}"/>
              </a:ext>
            </a:extLst>
          </p:cNvPr>
          <p:cNvPicPr>
            <a:picLocks noChangeAspect="1"/>
          </p:cNvPicPr>
          <p:nvPr>
            <a:audioFile r:link="rId3"/>
            <p:extLst>
              <p:ext uri="{DAA4B4D4-6D71-4841-9C94-3DE7FCFB9230}">
                <p14:media xmlns:p14="http://schemas.microsoft.com/office/powerpoint/2010/main" r:embed="rId2"/>
              </p:ext>
            </p:extLst>
          </p:nvPr>
        </p:nvPicPr>
        <p:blipFill>
          <a:blip r:embed="rId12"/>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4040757370"/>
      </p:ext>
    </p:extLst>
  </p:cSld>
  <p:clrMapOvr>
    <a:masterClrMapping/>
  </p:clrMapOvr>
  <mc:AlternateContent xmlns:mc="http://schemas.openxmlformats.org/markup-compatibility/2006">
    <mc:Choice xmlns:p14="http://schemas.microsoft.com/office/powerpoint/2010/main" Requires="p14">
      <p:transition spd="slow" p14:dur="2000" advTm="90000"/>
    </mc:Choice>
    <mc:Fallback>
      <p:transition spd="slow" advTm="90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33"/>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33"/>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79"/>
                                        </p:tgtEl>
                                        <p:attrNameLst>
                                          <p:attrName>style.visibility</p:attrName>
                                        </p:attrNameLst>
                                      </p:cBhvr>
                                      <p:to>
                                        <p:strVal val="visible"/>
                                      </p:to>
                                    </p:set>
                                    <p:animEffect transition="in" filter="fade">
                                      <p:cBhvr>
                                        <p:cTn id="14" dur="500"/>
                                        <p:tgtEl>
                                          <p:spTgt spid="7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80"/>
                                        </p:tgtEl>
                                        <p:attrNameLst>
                                          <p:attrName>style.visibility</p:attrName>
                                        </p:attrNameLst>
                                      </p:cBhvr>
                                      <p:to>
                                        <p:strVal val="visible"/>
                                      </p:to>
                                    </p:set>
                                    <p:animEffect transition="in" filter="fade">
                                      <p:cBhvr>
                                        <p:cTn id="17" dur="500"/>
                                        <p:tgtEl>
                                          <p:spTgt spid="80"/>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1"/>
                                        </p:tgtEl>
                                        <p:attrNameLst>
                                          <p:attrName>style.visibility</p:attrName>
                                        </p:attrNameLst>
                                      </p:cBhvr>
                                      <p:to>
                                        <p:strVal val="visible"/>
                                      </p:to>
                                    </p:set>
                                    <p:animEffect transition="in" filter="fade">
                                      <p:cBhvr>
                                        <p:cTn id="20" dur="500"/>
                                        <p:tgtEl>
                                          <p:spTgt spid="8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10" presetClass="entr" presetSubtype="0" fill="hold" nodeType="with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0" presetClass="entr" presetSubtype="0" fill="hold" nodeType="withEffect">
                                  <p:stCondLst>
                                    <p:cond delay="0"/>
                                  </p:stCondLst>
                                  <p:childTnLst>
                                    <p:set>
                                      <p:cBhvr>
                                        <p:cTn id="33" dur="1" fill="hold">
                                          <p:stCondLst>
                                            <p:cond delay="0"/>
                                          </p:stCondLst>
                                        </p:cTn>
                                        <p:tgtEl>
                                          <p:spTgt spid="59"/>
                                        </p:tgtEl>
                                        <p:attrNameLst>
                                          <p:attrName>style.visibility</p:attrName>
                                        </p:attrNameLst>
                                      </p:cBhvr>
                                      <p:to>
                                        <p:strVal val="visible"/>
                                      </p:to>
                                    </p:set>
                                    <p:animEffect transition="in" filter="fade">
                                      <p:cBhvr>
                                        <p:cTn id="34" dur="500"/>
                                        <p:tgtEl>
                                          <p:spTgt spid="5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tgtEl>
                                        <p:attrNameLst>
                                          <p:attrName>style.visibility</p:attrName>
                                        </p:attrNameLst>
                                      </p:cBhvr>
                                      <p:to>
                                        <p:strVal val="visible"/>
                                      </p:to>
                                    </p:set>
                                    <p:animEffect transition="in" filter="fade">
                                      <p:cBhvr>
                                        <p:cTn id="45" dur="500"/>
                                        <p:tgtEl>
                                          <p:spTgt spid="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500"/>
                                        <p:tgtEl>
                                          <p:spTgt spid="32"/>
                                        </p:tgtEl>
                                      </p:cBhvr>
                                    </p:animEffect>
                                  </p:childTnLst>
                                </p:cTn>
                              </p:par>
                              <p:par>
                                <p:cTn id="52" presetID="10" presetClass="entr" presetSubtype="0" fill="hold" nodeType="withEffect">
                                  <p:stCondLst>
                                    <p:cond delay="0"/>
                                  </p:stCondLst>
                                  <p:childTnLst>
                                    <p:set>
                                      <p:cBhvr>
                                        <p:cTn id="53" dur="1" fill="hold">
                                          <p:stCondLst>
                                            <p:cond delay="0"/>
                                          </p:stCondLst>
                                        </p:cTn>
                                        <p:tgtEl>
                                          <p:spTgt spid="1036"/>
                                        </p:tgtEl>
                                        <p:attrNameLst>
                                          <p:attrName>style.visibility</p:attrName>
                                        </p:attrNameLst>
                                      </p:cBhvr>
                                      <p:to>
                                        <p:strVal val="visible"/>
                                      </p:to>
                                    </p:set>
                                    <p:animEffect transition="in" filter="fade">
                                      <p:cBhvr>
                                        <p:cTn id="54" dur="500"/>
                                        <p:tgtEl>
                                          <p:spTgt spid="1036"/>
                                        </p:tgtEl>
                                      </p:cBhvr>
                                    </p:animEffect>
                                  </p:childTnLst>
                                </p:cTn>
                              </p:par>
                              <p:par>
                                <p:cTn id="55" presetID="10" presetClass="entr" presetSubtype="0" fill="hold" nodeType="withEffect">
                                  <p:stCondLst>
                                    <p:cond delay="0"/>
                                  </p:stCondLst>
                                  <p:childTnLst>
                                    <p:set>
                                      <p:cBhvr>
                                        <p:cTn id="56" dur="1" fill="hold">
                                          <p:stCondLst>
                                            <p:cond delay="0"/>
                                          </p:stCondLst>
                                        </p:cTn>
                                        <p:tgtEl>
                                          <p:spTgt spid="44"/>
                                        </p:tgtEl>
                                        <p:attrNameLst>
                                          <p:attrName>style.visibility</p:attrName>
                                        </p:attrNameLst>
                                      </p:cBhvr>
                                      <p:to>
                                        <p:strVal val="visible"/>
                                      </p:to>
                                    </p:set>
                                    <p:animEffect transition="in" filter="fade">
                                      <p:cBhvr>
                                        <p:cTn id="57" dur="500"/>
                                        <p:tgtEl>
                                          <p:spTgt spid="44"/>
                                        </p:tgtEl>
                                      </p:cBhvr>
                                    </p:animEffect>
                                  </p:childTnLst>
                                </p:cTn>
                              </p:par>
                              <p:par>
                                <p:cTn id="58" presetID="10" presetClass="entr" presetSubtype="0" fill="hold" nodeType="withEffect">
                                  <p:stCondLst>
                                    <p:cond delay="0"/>
                                  </p:stCondLst>
                                  <p:childTnLst>
                                    <p:set>
                                      <p:cBhvr>
                                        <p:cTn id="59" dur="1" fill="hold">
                                          <p:stCondLst>
                                            <p:cond delay="0"/>
                                          </p:stCondLst>
                                        </p:cTn>
                                        <p:tgtEl>
                                          <p:spTgt spid="62"/>
                                        </p:tgtEl>
                                        <p:attrNameLst>
                                          <p:attrName>style.visibility</p:attrName>
                                        </p:attrNameLst>
                                      </p:cBhvr>
                                      <p:to>
                                        <p:strVal val="visible"/>
                                      </p:to>
                                    </p:set>
                                    <p:animEffect transition="in" filter="fade">
                                      <p:cBhvr>
                                        <p:cTn id="60" dur="500"/>
                                        <p:tgtEl>
                                          <p:spTgt spid="62"/>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9"/>
                                        </p:tgtEl>
                                        <p:attrNameLst>
                                          <p:attrName>style.visibility</p:attrName>
                                        </p:attrNameLst>
                                      </p:cBhvr>
                                      <p:to>
                                        <p:strVal val="visible"/>
                                      </p:to>
                                    </p:set>
                                    <p:animEffect transition="in" filter="fade">
                                      <p:cBhvr>
                                        <p:cTn id="65" dur="500"/>
                                        <p:tgtEl>
                                          <p:spTgt spid="9"/>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
                                        </p:tgtEl>
                                        <p:attrNameLst>
                                          <p:attrName>style.visibility</p:attrName>
                                        </p:attrNameLst>
                                      </p:cBhvr>
                                      <p:to>
                                        <p:strVal val="visible"/>
                                      </p:to>
                                    </p:set>
                                    <p:animEffect transition="in" filter="fade">
                                      <p:cBhvr>
                                        <p:cTn id="68" dur="500"/>
                                        <p:tgtEl>
                                          <p:spTgt spid="1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500"/>
                                        <p:tgtEl>
                                          <p:spTgt spid="20"/>
                                        </p:tgtEl>
                                      </p:cBhvr>
                                    </p:animEffect>
                                  </p:childTnLst>
                                </p:cTn>
                              </p:par>
                              <p:par>
                                <p:cTn id="72" presetID="10" presetClass="entr" presetSubtype="0" fill="hold" nodeType="withEffect">
                                  <p:stCondLst>
                                    <p:cond delay="0"/>
                                  </p:stCondLst>
                                  <p:childTnLst>
                                    <p:set>
                                      <p:cBhvr>
                                        <p:cTn id="73" dur="1" fill="hold">
                                          <p:stCondLst>
                                            <p:cond delay="0"/>
                                          </p:stCondLst>
                                        </p:cTn>
                                        <p:tgtEl>
                                          <p:spTgt spid="47"/>
                                        </p:tgtEl>
                                        <p:attrNameLst>
                                          <p:attrName>style.visibility</p:attrName>
                                        </p:attrNameLst>
                                      </p:cBhvr>
                                      <p:to>
                                        <p:strVal val="visible"/>
                                      </p:to>
                                    </p:set>
                                    <p:animEffect transition="in" filter="fade">
                                      <p:cBhvr>
                                        <p:cTn id="74" dur="500"/>
                                        <p:tgtEl>
                                          <p:spTgt spid="47"/>
                                        </p:tgtEl>
                                      </p:cBhvr>
                                    </p:animEffect>
                                  </p:childTnLst>
                                </p:cTn>
                              </p:par>
                              <p:par>
                                <p:cTn id="75" presetID="10" presetClass="entr" presetSubtype="0" fill="hold" nodeType="withEffect">
                                  <p:stCondLst>
                                    <p:cond delay="0"/>
                                  </p:stCondLst>
                                  <p:childTnLst>
                                    <p:set>
                                      <p:cBhvr>
                                        <p:cTn id="76" dur="1" fill="hold">
                                          <p:stCondLst>
                                            <p:cond delay="0"/>
                                          </p:stCondLst>
                                        </p:cTn>
                                        <p:tgtEl>
                                          <p:spTgt spid="65"/>
                                        </p:tgtEl>
                                        <p:attrNameLst>
                                          <p:attrName>style.visibility</p:attrName>
                                        </p:attrNameLst>
                                      </p:cBhvr>
                                      <p:to>
                                        <p:strVal val="visible"/>
                                      </p:to>
                                    </p:set>
                                    <p:animEffect transition="in" filter="fade">
                                      <p:cBhvr>
                                        <p:cTn id="77" dur="500"/>
                                        <p:tgtEl>
                                          <p:spTgt spid="65"/>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1"/>
                                        </p:tgtEl>
                                        <p:attrNameLst>
                                          <p:attrName>style.visibility</p:attrName>
                                        </p:attrNameLst>
                                      </p:cBhvr>
                                      <p:to>
                                        <p:strVal val="visible"/>
                                      </p:to>
                                    </p:set>
                                    <p:animEffect transition="in" filter="fade">
                                      <p:cBhvr>
                                        <p:cTn id="82" dur="500"/>
                                        <p:tgtEl>
                                          <p:spTgt spid="11"/>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8"/>
                                        </p:tgtEl>
                                        <p:attrNameLst>
                                          <p:attrName>style.visibility</p:attrName>
                                        </p:attrNameLst>
                                      </p:cBhvr>
                                      <p:to>
                                        <p:strVal val="visible"/>
                                      </p:to>
                                    </p:set>
                                    <p:animEffect transition="in" filter="fade">
                                      <p:cBhvr>
                                        <p:cTn id="85" dur="500"/>
                                        <p:tgtEl>
                                          <p:spTgt spid="18"/>
                                        </p:tgtEl>
                                      </p:cBhvr>
                                    </p:animEffect>
                                  </p:childTnLst>
                                </p:cTn>
                              </p:par>
                              <p:par>
                                <p:cTn id="86" presetID="10" presetClass="entr" presetSubtype="0" fill="hold" nodeType="withEffect">
                                  <p:stCondLst>
                                    <p:cond delay="0"/>
                                  </p:stCondLst>
                                  <p:childTnLst>
                                    <p:set>
                                      <p:cBhvr>
                                        <p:cTn id="87" dur="1" fill="hold">
                                          <p:stCondLst>
                                            <p:cond delay="0"/>
                                          </p:stCondLst>
                                        </p:cTn>
                                        <p:tgtEl>
                                          <p:spTgt spid="1030"/>
                                        </p:tgtEl>
                                        <p:attrNameLst>
                                          <p:attrName>style.visibility</p:attrName>
                                        </p:attrNameLst>
                                      </p:cBhvr>
                                      <p:to>
                                        <p:strVal val="visible"/>
                                      </p:to>
                                    </p:set>
                                    <p:animEffect transition="in" filter="fade">
                                      <p:cBhvr>
                                        <p:cTn id="88" dur="500"/>
                                        <p:tgtEl>
                                          <p:spTgt spid="103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2"/>
                                        </p:tgtEl>
                                        <p:attrNameLst>
                                          <p:attrName>style.visibility</p:attrName>
                                        </p:attrNameLst>
                                      </p:cBhvr>
                                      <p:to>
                                        <p:strVal val="visible"/>
                                      </p:to>
                                    </p:set>
                                    <p:animEffect transition="in" filter="fade">
                                      <p:cBhvr>
                                        <p:cTn id="91" dur="500"/>
                                        <p:tgtEl>
                                          <p:spTgt spid="22"/>
                                        </p:tgtEl>
                                      </p:cBhvr>
                                    </p:animEffect>
                                  </p:childTnLst>
                                </p:cTn>
                              </p:par>
                              <p:par>
                                <p:cTn id="92" presetID="10" presetClass="entr" presetSubtype="0" fill="hold" nodeType="withEffect">
                                  <p:stCondLst>
                                    <p:cond delay="0"/>
                                  </p:stCondLst>
                                  <p:childTnLst>
                                    <p:set>
                                      <p:cBhvr>
                                        <p:cTn id="93" dur="1" fill="hold">
                                          <p:stCondLst>
                                            <p:cond delay="0"/>
                                          </p:stCondLst>
                                        </p:cTn>
                                        <p:tgtEl>
                                          <p:spTgt spid="83"/>
                                        </p:tgtEl>
                                        <p:attrNameLst>
                                          <p:attrName>style.visibility</p:attrName>
                                        </p:attrNameLst>
                                      </p:cBhvr>
                                      <p:to>
                                        <p:strVal val="visible"/>
                                      </p:to>
                                    </p:set>
                                    <p:animEffect transition="in" filter="fade">
                                      <p:cBhvr>
                                        <p:cTn id="94" dur="500"/>
                                        <p:tgtEl>
                                          <p:spTgt spid="83"/>
                                        </p:tgtEl>
                                      </p:cBhvr>
                                    </p:animEffect>
                                  </p:childTnLst>
                                </p:cTn>
                              </p:par>
                              <p:par>
                                <p:cTn id="95" presetID="10" presetClass="entr" presetSubtype="0" fill="hold" nodeType="withEffect">
                                  <p:stCondLst>
                                    <p:cond delay="0"/>
                                  </p:stCondLst>
                                  <p:childTnLst>
                                    <p:set>
                                      <p:cBhvr>
                                        <p:cTn id="96" dur="1" fill="hold">
                                          <p:stCondLst>
                                            <p:cond delay="0"/>
                                          </p:stCondLst>
                                        </p:cTn>
                                        <p:tgtEl>
                                          <p:spTgt spid="50"/>
                                        </p:tgtEl>
                                        <p:attrNameLst>
                                          <p:attrName>style.visibility</p:attrName>
                                        </p:attrNameLst>
                                      </p:cBhvr>
                                      <p:to>
                                        <p:strVal val="visible"/>
                                      </p:to>
                                    </p:set>
                                    <p:animEffect transition="in" filter="fade">
                                      <p:cBhvr>
                                        <p:cTn id="97" dur="500"/>
                                        <p:tgtEl>
                                          <p:spTgt spid="50"/>
                                        </p:tgtEl>
                                      </p:cBhvr>
                                    </p:animEffect>
                                  </p:childTnLst>
                                </p:cTn>
                              </p:par>
                              <p:par>
                                <p:cTn id="98" presetID="10" presetClass="entr" presetSubtype="0" fill="hold" nodeType="withEffect">
                                  <p:stCondLst>
                                    <p:cond delay="0"/>
                                  </p:stCondLst>
                                  <p:childTnLst>
                                    <p:set>
                                      <p:cBhvr>
                                        <p:cTn id="99" dur="1" fill="hold">
                                          <p:stCondLst>
                                            <p:cond delay="0"/>
                                          </p:stCondLst>
                                        </p:cTn>
                                        <p:tgtEl>
                                          <p:spTgt spid="68"/>
                                        </p:tgtEl>
                                        <p:attrNameLst>
                                          <p:attrName>style.visibility</p:attrName>
                                        </p:attrNameLst>
                                      </p:cBhvr>
                                      <p:to>
                                        <p:strVal val="visible"/>
                                      </p:to>
                                    </p:set>
                                    <p:animEffect transition="in" filter="fade">
                                      <p:cBhvr>
                                        <p:cTn id="100" dur="500"/>
                                        <p:tgtEl>
                                          <p:spTgt spid="68"/>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10"/>
                                        </p:tgtEl>
                                        <p:attrNameLst>
                                          <p:attrName>style.visibility</p:attrName>
                                        </p:attrNameLst>
                                      </p:cBhvr>
                                      <p:to>
                                        <p:strVal val="visible"/>
                                      </p:to>
                                    </p:set>
                                    <p:animEffect transition="in" filter="fade">
                                      <p:cBhvr>
                                        <p:cTn id="105" dur="500"/>
                                        <p:tgtEl>
                                          <p:spTgt spid="10"/>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17"/>
                                        </p:tgtEl>
                                        <p:attrNameLst>
                                          <p:attrName>style.visibility</p:attrName>
                                        </p:attrNameLst>
                                      </p:cBhvr>
                                      <p:to>
                                        <p:strVal val="visible"/>
                                      </p:to>
                                    </p:set>
                                    <p:animEffect transition="in" filter="fade">
                                      <p:cBhvr>
                                        <p:cTn id="108" dur="500"/>
                                        <p:tgtEl>
                                          <p:spTgt spid="17"/>
                                        </p:tgtEl>
                                      </p:cBhvr>
                                    </p:animEffect>
                                  </p:childTnLst>
                                </p:cTn>
                              </p:par>
                              <p:par>
                                <p:cTn id="109" presetID="10" presetClass="entr" presetSubtype="0" fill="hold" nodeType="withEffect">
                                  <p:stCondLst>
                                    <p:cond delay="0"/>
                                  </p:stCondLst>
                                  <p:childTnLst>
                                    <p:set>
                                      <p:cBhvr>
                                        <p:cTn id="110" dur="1" fill="hold">
                                          <p:stCondLst>
                                            <p:cond delay="0"/>
                                          </p:stCondLst>
                                        </p:cTn>
                                        <p:tgtEl>
                                          <p:spTgt spid="1032"/>
                                        </p:tgtEl>
                                        <p:attrNameLst>
                                          <p:attrName>style.visibility</p:attrName>
                                        </p:attrNameLst>
                                      </p:cBhvr>
                                      <p:to>
                                        <p:strVal val="visible"/>
                                      </p:to>
                                    </p:set>
                                    <p:animEffect transition="in" filter="fade">
                                      <p:cBhvr>
                                        <p:cTn id="111" dur="500"/>
                                        <p:tgtEl>
                                          <p:spTgt spid="1032"/>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21"/>
                                        </p:tgtEl>
                                        <p:attrNameLst>
                                          <p:attrName>style.visibility</p:attrName>
                                        </p:attrNameLst>
                                      </p:cBhvr>
                                      <p:to>
                                        <p:strVal val="visible"/>
                                      </p:to>
                                    </p:set>
                                    <p:animEffect transition="in" filter="fade">
                                      <p:cBhvr>
                                        <p:cTn id="114" dur="500"/>
                                        <p:tgtEl>
                                          <p:spTgt spid="21"/>
                                        </p:tgtEl>
                                      </p:cBhvr>
                                    </p:animEffect>
                                  </p:childTnLst>
                                </p:cTn>
                              </p:par>
                              <p:par>
                                <p:cTn id="115" presetID="10" presetClass="entr" presetSubtype="0" fill="hold" nodeType="withEffect">
                                  <p:stCondLst>
                                    <p:cond delay="0"/>
                                  </p:stCondLst>
                                  <p:childTnLst>
                                    <p:set>
                                      <p:cBhvr>
                                        <p:cTn id="116" dur="1" fill="hold">
                                          <p:stCondLst>
                                            <p:cond delay="0"/>
                                          </p:stCondLst>
                                        </p:cTn>
                                        <p:tgtEl>
                                          <p:spTgt spid="1034"/>
                                        </p:tgtEl>
                                        <p:attrNameLst>
                                          <p:attrName>style.visibility</p:attrName>
                                        </p:attrNameLst>
                                      </p:cBhvr>
                                      <p:to>
                                        <p:strVal val="visible"/>
                                      </p:to>
                                    </p:set>
                                    <p:animEffect transition="in" filter="fade">
                                      <p:cBhvr>
                                        <p:cTn id="117" dur="500"/>
                                        <p:tgtEl>
                                          <p:spTgt spid="1034"/>
                                        </p:tgtEl>
                                      </p:cBhvr>
                                    </p:animEffect>
                                  </p:childTnLst>
                                </p:cTn>
                              </p:par>
                              <p:par>
                                <p:cTn id="118" presetID="10" presetClass="entr" presetSubtype="0" fill="hold" nodeType="withEffect">
                                  <p:stCondLst>
                                    <p:cond delay="0"/>
                                  </p:stCondLst>
                                  <p:childTnLst>
                                    <p:set>
                                      <p:cBhvr>
                                        <p:cTn id="119" dur="1" fill="hold">
                                          <p:stCondLst>
                                            <p:cond delay="0"/>
                                          </p:stCondLst>
                                        </p:cTn>
                                        <p:tgtEl>
                                          <p:spTgt spid="53"/>
                                        </p:tgtEl>
                                        <p:attrNameLst>
                                          <p:attrName>style.visibility</p:attrName>
                                        </p:attrNameLst>
                                      </p:cBhvr>
                                      <p:to>
                                        <p:strVal val="visible"/>
                                      </p:to>
                                    </p:set>
                                    <p:animEffect transition="in" filter="fade">
                                      <p:cBhvr>
                                        <p:cTn id="120" dur="500"/>
                                        <p:tgtEl>
                                          <p:spTgt spid="53"/>
                                        </p:tgtEl>
                                      </p:cBhvr>
                                    </p:animEffect>
                                  </p:childTnLst>
                                </p:cTn>
                              </p:par>
                              <p:par>
                                <p:cTn id="121" presetID="10" presetClass="entr" presetSubtype="0" fill="hold" nodeType="withEffect">
                                  <p:stCondLst>
                                    <p:cond delay="0"/>
                                  </p:stCondLst>
                                  <p:childTnLst>
                                    <p:set>
                                      <p:cBhvr>
                                        <p:cTn id="122" dur="1" fill="hold">
                                          <p:stCondLst>
                                            <p:cond delay="0"/>
                                          </p:stCondLst>
                                        </p:cTn>
                                        <p:tgtEl>
                                          <p:spTgt spid="71"/>
                                        </p:tgtEl>
                                        <p:attrNameLst>
                                          <p:attrName>style.visibility</p:attrName>
                                        </p:attrNameLst>
                                      </p:cBhvr>
                                      <p:to>
                                        <p:strVal val="visible"/>
                                      </p:to>
                                    </p:set>
                                    <p:animEffect transition="in" filter="fade">
                                      <p:cBhvr>
                                        <p:cTn id="123" dur="500"/>
                                        <p:tgtEl>
                                          <p:spTgt spid="71"/>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12"/>
                                        </p:tgtEl>
                                        <p:attrNameLst>
                                          <p:attrName>style.visibility</p:attrName>
                                        </p:attrNameLst>
                                      </p:cBhvr>
                                      <p:to>
                                        <p:strVal val="visible"/>
                                      </p:to>
                                    </p:set>
                                    <p:animEffect transition="in" filter="fade">
                                      <p:cBhvr>
                                        <p:cTn id="128" dur="500"/>
                                        <p:tgtEl>
                                          <p:spTgt spid="12"/>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16"/>
                                        </p:tgtEl>
                                        <p:attrNameLst>
                                          <p:attrName>style.visibility</p:attrName>
                                        </p:attrNameLst>
                                      </p:cBhvr>
                                      <p:to>
                                        <p:strVal val="visible"/>
                                      </p:to>
                                    </p:set>
                                    <p:animEffect transition="in" filter="fade">
                                      <p:cBhvr>
                                        <p:cTn id="131" dur="500"/>
                                        <p:tgtEl>
                                          <p:spTgt spid="16"/>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23"/>
                                        </p:tgtEl>
                                        <p:attrNameLst>
                                          <p:attrName>style.visibility</p:attrName>
                                        </p:attrNameLst>
                                      </p:cBhvr>
                                      <p:to>
                                        <p:strVal val="visible"/>
                                      </p:to>
                                    </p:set>
                                    <p:animEffect transition="in" filter="fade">
                                      <p:cBhvr>
                                        <p:cTn id="134" dur="500"/>
                                        <p:tgtEl>
                                          <p:spTgt spid="23"/>
                                        </p:tgtEl>
                                      </p:cBhvr>
                                    </p:animEffect>
                                  </p:childTnLst>
                                </p:cTn>
                              </p:par>
                              <p:par>
                                <p:cTn id="135" presetID="10" presetClass="entr" presetSubtype="0" fill="hold" nodeType="withEffect">
                                  <p:stCondLst>
                                    <p:cond delay="0"/>
                                  </p:stCondLst>
                                  <p:childTnLst>
                                    <p:set>
                                      <p:cBhvr>
                                        <p:cTn id="136" dur="1" fill="hold">
                                          <p:stCondLst>
                                            <p:cond delay="0"/>
                                          </p:stCondLst>
                                        </p:cTn>
                                        <p:tgtEl>
                                          <p:spTgt spid="7170"/>
                                        </p:tgtEl>
                                        <p:attrNameLst>
                                          <p:attrName>style.visibility</p:attrName>
                                        </p:attrNameLst>
                                      </p:cBhvr>
                                      <p:to>
                                        <p:strVal val="visible"/>
                                      </p:to>
                                    </p:set>
                                    <p:animEffect transition="in" filter="fade">
                                      <p:cBhvr>
                                        <p:cTn id="137" dur="500"/>
                                        <p:tgtEl>
                                          <p:spTgt spid="7170"/>
                                        </p:tgtEl>
                                      </p:cBhvr>
                                    </p:animEffect>
                                  </p:childTnLst>
                                </p:cTn>
                              </p:par>
                              <p:par>
                                <p:cTn id="138" presetID="10" presetClass="entr" presetSubtype="0" fill="hold" nodeType="withEffect">
                                  <p:stCondLst>
                                    <p:cond delay="0"/>
                                  </p:stCondLst>
                                  <p:childTnLst>
                                    <p:set>
                                      <p:cBhvr>
                                        <p:cTn id="139" dur="1" fill="hold">
                                          <p:stCondLst>
                                            <p:cond delay="0"/>
                                          </p:stCondLst>
                                        </p:cTn>
                                        <p:tgtEl>
                                          <p:spTgt spid="56"/>
                                        </p:tgtEl>
                                        <p:attrNameLst>
                                          <p:attrName>style.visibility</p:attrName>
                                        </p:attrNameLst>
                                      </p:cBhvr>
                                      <p:to>
                                        <p:strVal val="visible"/>
                                      </p:to>
                                    </p:set>
                                    <p:animEffect transition="in" filter="fade">
                                      <p:cBhvr>
                                        <p:cTn id="140" dur="500"/>
                                        <p:tgtEl>
                                          <p:spTgt spid="56"/>
                                        </p:tgtEl>
                                      </p:cBhvr>
                                    </p:animEffect>
                                  </p:childTnLst>
                                </p:cTn>
                              </p:par>
                              <p:par>
                                <p:cTn id="141" presetID="10" presetClass="entr" presetSubtype="0" fill="hold" nodeType="withEffect">
                                  <p:stCondLst>
                                    <p:cond delay="0"/>
                                  </p:stCondLst>
                                  <p:childTnLst>
                                    <p:set>
                                      <p:cBhvr>
                                        <p:cTn id="142" dur="1" fill="hold">
                                          <p:stCondLst>
                                            <p:cond delay="0"/>
                                          </p:stCondLst>
                                        </p:cTn>
                                        <p:tgtEl>
                                          <p:spTgt spid="74"/>
                                        </p:tgtEl>
                                        <p:attrNameLst>
                                          <p:attrName>style.visibility</p:attrName>
                                        </p:attrNameLst>
                                      </p:cBhvr>
                                      <p:to>
                                        <p:strVal val="visible"/>
                                      </p:to>
                                    </p:set>
                                    <p:animEffect transition="in" filter="fade">
                                      <p:cBhvr>
                                        <p:cTn id="143" dur="500"/>
                                        <p:tgtEl>
                                          <p:spTgt spid="74"/>
                                        </p:tgtEl>
                                      </p:cBhvr>
                                    </p:animEffect>
                                  </p:childTnLst>
                                </p:cTn>
                              </p:par>
                            </p:childTnLst>
                          </p:cTn>
                        </p:par>
                      </p:childTnLst>
                    </p:cTn>
                  </p:par>
                  <p:par>
                    <p:cTn id="144" fill="hold">
                      <p:stCondLst>
                        <p:cond delay="indefinite"/>
                      </p:stCondLst>
                      <p:childTnLst>
                        <p:par>
                          <p:cTn id="145" fill="hold">
                            <p:stCondLst>
                              <p:cond delay="0"/>
                            </p:stCondLst>
                            <p:childTnLst>
                              <p:par>
                                <p:cTn id="146" presetID="10" presetClass="entr" presetSubtype="0" fill="hold" grpId="0" nodeType="clickEffect">
                                  <p:stCondLst>
                                    <p:cond delay="0"/>
                                  </p:stCondLst>
                                  <p:childTnLst>
                                    <p:set>
                                      <p:cBhvr>
                                        <p:cTn id="147" dur="1" fill="hold">
                                          <p:stCondLst>
                                            <p:cond delay="0"/>
                                          </p:stCondLst>
                                        </p:cTn>
                                        <p:tgtEl>
                                          <p:spTgt spid="37"/>
                                        </p:tgtEl>
                                        <p:attrNameLst>
                                          <p:attrName>style.visibility</p:attrName>
                                        </p:attrNameLst>
                                      </p:cBhvr>
                                      <p:to>
                                        <p:strVal val="visible"/>
                                      </p:to>
                                    </p:set>
                                    <p:animEffect transition="in" filter="fade">
                                      <p:cBhvr>
                                        <p:cTn id="148" dur="500"/>
                                        <p:tgtEl>
                                          <p:spTgt spid="37"/>
                                        </p:tgtEl>
                                      </p:cBhvr>
                                    </p:animEffect>
                                  </p:childTnLst>
                                </p:cTn>
                              </p:par>
                            </p:childTnLst>
                          </p:cTn>
                        </p:par>
                      </p:childTnLst>
                    </p:cTn>
                  </p:par>
                  <p:par>
                    <p:cTn id="149" fill="hold">
                      <p:stCondLst>
                        <p:cond delay="indefinite"/>
                      </p:stCondLst>
                      <p:childTnLst>
                        <p:par>
                          <p:cTn id="150" fill="hold">
                            <p:stCondLst>
                              <p:cond delay="0"/>
                            </p:stCondLst>
                            <p:childTnLst>
                              <p:par>
                                <p:cTn id="151" presetID="10" presetClass="entr" presetSubtype="0" fill="hold" grpId="0" nodeType="clickEffect">
                                  <p:stCondLst>
                                    <p:cond delay="0"/>
                                  </p:stCondLst>
                                  <p:childTnLst>
                                    <p:set>
                                      <p:cBhvr>
                                        <p:cTn id="152" dur="1" fill="hold">
                                          <p:stCondLst>
                                            <p:cond delay="0"/>
                                          </p:stCondLst>
                                        </p:cTn>
                                        <p:tgtEl>
                                          <p:spTgt spid="36"/>
                                        </p:tgtEl>
                                        <p:attrNameLst>
                                          <p:attrName>style.visibility</p:attrName>
                                        </p:attrNameLst>
                                      </p:cBhvr>
                                      <p:to>
                                        <p:strVal val="visible"/>
                                      </p:to>
                                    </p:set>
                                    <p:animEffect transition="in" filter="fade">
                                      <p:cBhvr>
                                        <p:cTn id="153" dur="500"/>
                                        <p:tgtEl>
                                          <p:spTgt spid="36"/>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38"/>
                                        </p:tgtEl>
                                        <p:attrNameLst>
                                          <p:attrName>style.visibility</p:attrName>
                                        </p:attrNameLst>
                                      </p:cBhvr>
                                      <p:to>
                                        <p:strVal val="visible"/>
                                      </p:to>
                                    </p:set>
                                    <p:animEffect transition="in" filter="fade">
                                      <p:cBhvr>
                                        <p:cTn id="158" dur="500"/>
                                        <p:tgtEl>
                                          <p:spTgt spid="38"/>
                                        </p:tgtEl>
                                      </p:cBhvr>
                                    </p:animEffect>
                                  </p:childTnLst>
                                </p:cTn>
                              </p:par>
                            </p:childTnLst>
                          </p:cTn>
                        </p:par>
                      </p:childTnLst>
                    </p:cTn>
                  </p:par>
                  <p:par>
                    <p:cTn id="159" fill="hold">
                      <p:stCondLst>
                        <p:cond delay="indefinite"/>
                      </p:stCondLst>
                      <p:childTnLst>
                        <p:par>
                          <p:cTn id="160" fill="hold">
                            <p:stCondLst>
                              <p:cond delay="0"/>
                            </p:stCondLst>
                            <p:childTnLst>
                              <p:par>
                                <p:cTn id="161" presetID="10" presetClass="entr" presetSubtype="0" fill="hold" grpId="0" nodeType="clickEffect">
                                  <p:stCondLst>
                                    <p:cond delay="0"/>
                                  </p:stCondLst>
                                  <p:childTnLst>
                                    <p:set>
                                      <p:cBhvr>
                                        <p:cTn id="162" dur="1" fill="hold">
                                          <p:stCondLst>
                                            <p:cond delay="0"/>
                                          </p:stCondLst>
                                        </p:cTn>
                                        <p:tgtEl>
                                          <p:spTgt spid="2"/>
                                        </p:tgtEl>
                                        <p:attrNameLst>
                                          <p:attrName>style.visibility</p:attrName>
                                        </p:attrNameLst>
                                      </p:cBhvr>
                                      <p:to>
                                        <p:strVal val="visible"/>
                                      </p:to>
                                    </p:set>
                                    <p:animEffect transition="in" filter="fade">
                                      <p:cBhvr>
                                        <p:cTn id="16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64" fill="hold" display="0">
                  <p:stCondLst>
                    <p:cond delay="indefinite"/>
                  </p:stCondLst>
                  <p:endCondLst>
                    <p:cond evt="onStopAudio" delay="0">
                      <p:tgtEl>
                        <p:sldTgt/>
                      </p:tgtEl>
                    </p:cond>
                  </p:endCondLst>
                </p:cTn>
                <p:tgtEl>
                  <p:spTgt spid="33"/>
                </p:tgtEl>
              </p:cMediaNode>
            </p:audio>
          </p:childTnLst>
        </p:cTn>
      </p:par>
    </p:tnLst>
    <p:bldLst>
      <p:bldP spid="81" grpId="0" animBg="1" autoUpdateAnimBg="0"/>
      <p:bldP spid="80" grpId="0" animBg="1" autoUpdateAnimBg="0"/>
      <p:bldP spid="79" grpId="0" animBg="1" autoUpdateAnimBg="0"/>
      <p:bldP spid="8" grpId="0" animBg="1" autoUpdateAnimBg="0"/>
      <p:bldP spid="9" grpId="0" animBg="1" autoUpdateAnimBg="0"/>
      <p:bldP spid="10" grpId="0" animBg="1" autoUpdateAnimBg="0"/>
      <p:bldP spid="11" grpId="0" animBg="1" autoUpdateAnimBg="0"/>
      <p:bldP spid="12" grpId="0" animBg="1" autoUpdateAnimBg="0"/>
      <p:bldP spid="14" grpId="0" animBg="1" autoUpdateAnimBg="0"/>
      <p:bldP spid="15" grpId="0" animBg="1" autoUpdateAnimBg="0"/>
      <p:bldP spid="16" grpId="0" animBg="1" autoUpdateAnimBg="0"/>
      <p:bldP spid="17" grpId="0" animBg="1" autoUpdateAnimBg="0"/>
      <p:bldP spid="18" grpId="0" animBg="1" autoUpdateAnimBg="0"/>
      <p:bldP spid="19" grpId="0" animBg="1" autoUpdateAnimBg="0"/>
      <p:bldP spid="20" grpId="0" animBg="1" autoUpdateAnimBg="0"/>
      <p:bldP spid="21" grpId="0" animBg="1" autoUpdateAnimBg="0"/>
      <p:bldP spid="22" grpId="0" animBg="1" autoUpdateAnimBg="0"/>
      <p:bldP spid="23" grpId="0" animBg="1" autoUpdateAnimBg="0"/>
      <p:bldP spid="24" grpId="0" animBg="1" autoUpdateAnimBg="0"/>
      <p:bldP spid="25" grpId="0" animBg="1" autoUpdateAnimBg="0"/>
      <p:bldP spid="26" grpId="0" animBg="1" autoUpdateAnimBg="0"/>
      <p:bldP spid="36" grpId="0" animBg="1" autoUpdateAnimBg="0"/>
      <p:bldP spid="37" grpId="0" animBg="1" autoUpdateAnimBg="0"/>
      <p:bldP spid="38" grpId="0" animBg="1" autoUpdateAnimBg="0"/>
      <p:bldP spid="2" grpId="0" animBg="1" autoUpdateAnimBg="0"/>
      <p:bldP spid="32" grpId="0" animBg="1" autoUpdateAnimBg="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4D3B7F12-4F8B-68B8-B250-E5EF1A5703C9}"/>
              </a:ext>
            </a:extLst>
          </p:cNvPr>
          <p:cNvSpPr/>
          <p:nvPr/>
        </p:nvSpPr>
        <p:spPr>
          <a:xfrm>
            <a:off x="8551566" y="743041"/>
            <a:ext cx="3274292" cy="4910236"/>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652D06D5-C22F-70C8-F420-328171DE0607}"/>
              </a:ext>
            </a:extLst>
          </p:cNvPr>
          <p:cNvSpPr/>
          <p:nvPr/>
        </p:nvSpPr>
        <p:spPr>
          <a:xfrm>
            <a:off x="4457062" y="743041"/>
            <a:ext cx="3274292" cy="4910237"/>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3906ED3F-F27C-A111-5059-26EA44ADD0E3}"/>
              </a:ext>
            </a:extLst>
          </p:cNvPr>
          <p:cNvSpPr/>
          <p:nvPr/>
        </p:nvSpPr>
        <p:spPr>
          <a:xfrm>
            <a:off x="362557" y="744112"/>
            <a:ext cx="3274292" cy="4910239"/>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ectionNameTextPlaceholder">
            <a:extLst>
              <a:ext uri="{FF2B5EF4-FFF2-40B4-BE49-F238E27FC236}">
                <a16:creationId xmlns:a16="http://schemas.microsoft.com/office/drawing/2014/main" id="{0C7AE72B-6AB6-3EFC-5F9E-86CAF07E2FA7}"/>
              </a:ext>
            </a:extLst>
          </p:cNvPr>
          <p:cNvSpPr>
            <a:spLocks noGrp="1"/>
          </p:cNvSpPr>
          <p:nvPr>
            <p:ph type="body" idx="1"/>
          </p:nvPr>
        </p:nvSpPr>
        <p:spPr/>
        <p:txBody>
          <a:bodyPr/>
          <a:lstStyle/>
          <a:p>
            <a:r>
              <a:rPr lang="en-US" dirty="0"/>
              <a:t>Text-to-Speech with Jason - a Male Voice</a:t>
            </a:r>
          </a:p>
        </p:txBody>
      </p:sp>
      <p:sp>
        <p:nvSpPr>
          <p:cNvPr id="4" name="Title 3" hidden="1">
            <a:extLst>
              <a:ext uri="{FF2B5EF4-FFF2-40B4-BE49-F238E27FC236}">
                <a16:creationId xmlns:a16="http://schemas.microsoft.com/office/drawing/2014/main" id="{F9D699A0-C6AA-33D2-1B78-978C1CBF88A3}"/>
              </a:ext>
            </a:extLst>
          </p:cNvPr>
          <p:cNvSpPr>
            <a:spLocks noGrp="1"/>
          </p:cNvSpPr>
          <p:nvPr>
            <p:ph type="title"/>
          </p:nvPr>
        </p:nvSpPr>
        <p:spPr/>
        <p:txBody>
          <a:bodyPr/>
          <a:lstStyle/>
          <a:p>
            <a:r>
              <a:rPr lang="en-US" dirty="0"/>
              <a:t>The Dream</a:t>
            </a:r>
          </a:p>
        </p:txBody>
      </p:sp>
      <p:sp>
        <p:nvSpPr>
          <p:cNvPr id="7" name="Text Placeholder 6">
            <a:extLst>
              <a:ext uri="{FF2B5EF4-FFF2-40B4-BE49-F238E27FC236}">
                <a16:creationId xmlns:a16="http://schemas.microsoft.com/office/drawing/2014/main" id="{A6C57BC0-ECCB-A695-BDD1-E5476A537B4D}"/>
              </a:ext>
            </a:extLst>
          </p:cNvPr>
          <p:cNvSpPr>
            <a:spLocks noGrp="1"/>
          </p:cNvSpPr>
          <p:nvPr>
            <p:ph type="body" sz="quarter" idx="3"/>
          </p:nvPr>
        </p:nvSpPr>
        <p:spPr/>
        <p:txBody>
          <a:bodyPr/>
          <a:lstStyle/>
          <a:p>
            <a:endParaRPr lang="en-US" dirty="0"/>
          </a:p>
        </p:txBody>
      </p:sp>
      <p:sp>
        <p:nvSpPr>
          <p:cNvPr id="8" name="Rectangle: Rounded Corners 7">
            <a:extLst>
              <a:ext uri="{FF2B5EF4-FFF2-40B4-BE49-F238E27FC236}">
                <a16:creationId xmlns:a16="http://schemas.microsoft.com/office/drawing/2014/main" id="{FF4DC1DB-DFF1-4A72-3A52-303702BFD175}"/>
              </a:ext>
            </a:extLst>
          </p:cNvPr>
          <p:cNvSpPr/>
          <p:nvPr/>
        </p:nvSpPr>
        <p:spPr>
          <a:xfrm>
            <a:off x="4742986" y="2266420"/>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Blog Post</a:t>
            </a:r>
          </a:p>
        </p:txBody>
      </p:sp>
      <p:sp>
        <p:nvSpPr>
          <p:cNvPr id="9" name="Rectangle: Rounded Corners 8">
            <a:extLst>
              <a:ext uri="{FF2B5EF4-FFF2-40B4-BE49-F238E27FC236}">
                <a16:creationId xmlns:a16="http://schemas.microsoft.com/office/drawing/2014/main" id="{BAB15368-4B64-D7B7-9229-5D339C0BC18B}"/>
              </a:ext>
            </a:extLst>
          </p:cNvPr>
          <p:cNvSpPr/>
          <p:nvPr/>
        </p:nvSpPr>
        <p:spPr>
          <a:xfrm>
            <a:off x="4742974" y="289982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Documentation Article</a:t>
            </a:r>
          </a:p>
        </p:txBody>
      </p:sp>
      <p:sp>
        <p:nvSpPr>
          <p:cNvPr id="10" name="Rectangle: Rounded Corners 9">
            <a:extLst>
              <a:ext uri="{FF2B5EF4-FFF2-40B4-BE49-F238E27FC236}">
                <a16:creationId xmlns:a16="http://schemas.microsoft.com/office/drawing/2014/main" id="{40F09698-155A-0B36-81E3-E1E4D9BB01F8}"/>
              </a:ext>
            </a:extLst>
          </p:cNvPr>
          <p:cNvSpPr/>
          <p:nvPr/>
        </p:nvSpPr>
        <p:spPr>
          <a:xfrm>
            <a:off x="4742987" y="4162311"/>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Audio File (.mp3)</a:t>
            </a:r>
          </a:p>
        </p:txBody>
      </p:sp>
      <p:sp>
        <p:nvSpPr>
          <p:cNvPr id="11" name="Rectangle: Rounded Corners 10">
            <a:extLst>
              <a:ext uri="{FF2B5EF4-FFF2-40B4-BE49-F238E27FC236}">
                <a16:creationId xmlns:a16="http://schemas.microsoft.com/office/drawing/2014/main" id="{753A0502-37B3-F31C-6AAD-845E34F092DF}"/>
              </a:ext>
            </a:extLst>
          </p:cNvPr>
          <p:cNvSpPr/>
          <p:nvPr/>
        </p:nvSpPr>
        <p:spPr>
          <a:xfrm>
            <a:off x="4742987" y="352720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Video File (.mp4)</a:t>
            </a:r>
          </a:p>
        </p:txBody>
      </p:sp>
      <p:sp>
        <p:nvSpPr>
          <p:cNvPr id="12" name="Rectangle: Rounded Corners 11">
            <a:extLst>
              <a:ext uri="{FF2B5EF4-FFF2-40B4-BE49-F238E27FC236}">
                <a16:creationId xmlns:a16="http://schemas.microsoft.com/office/drawing/2014/main" id="{FDBDFA76-E672-0491-D0BF-C680C1EAEE46}"/>
              </a:ext>
            </a:extLst>
          </p:cNvPr>
          <p:cNvSpPr/>
          <p:nvPr/>
        </p:nvSpPr>
        <p:spPr>
          <a:xfrm>
            <a:off x="4742987" y="4790094"/>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Online Presentation</a:t>
            </a:r>
          </a:p>
        </p:txBody>
      </p:sp>
      <p:sp>
        <p:nvSpPr>
          <p:cNvPr id="13" name="Rectangle: Rounded Corners 12">
            <a:extLst>
              <a:ext uri="{FF2B5EF4-FFF2-40B4-BE49-F238E27FC236}">
                <a16:creationId xmlns:a16="http://schemas.microsoft.com/office/drawing/2014/main" id="{3DD71CFE-F254-8FBF-2E37-63A9CEF8D329}"/>
              </a:ext>
            </a:extLst>
          </p:cNvPr>
          <p:cNvSpPr/>
          <p:nvPr/>
        </p:nvSpPr>
        <p:spPr>
          <a:xfrm>
            <a:off x="8555136" y="800092"/>
            <a:ext cx="3274293"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Publish</a:t>
            </a:r>
          </a:p>
        </p:txBody>
      </p:sp>
      <p:sp>
        <p:nvSpPr>
          <p:cNvPr id="16" name="Rectangle: Rounded Corners 15">
            <a:extLst>
              <a:ext uri="{FF2B5EF4-FFF2-40B4-BE49-F238E27FC236}">
                <a16:creationId xmlns:a16="http://schemas.microsoft.com/office/drawing/2014/main" id="{3A1731E7-2DB6-5BA1-2AD5-DAE30EBD705B}"/>
              </a:ext>
            </a:extLst>
          </p:cNvPr>
          <p:cNvSpPr/>
          <p:nvPr/>
        </p:nvSpPr>
        <p:spPr>
          <a:xfrm>
            <a:off x="646690" y="1493836"/>
            <a:ext cx="2706026" cy="388868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800" b="1" dirty="0"/>
              <a:t>Editor</a:t>
            </a:r>
          </a:p>
        </p:txBody>
      </p:sp>
      <p:sp>
        <p:nvSpPr>
          <p:cNvPr id="19" name="Rectangle: Rounded Corners 18">
            <a:extLst>
              <a:ext uri="{FF2B5EF4-FFF2-40B4-BE49-F238E27FC236}">
                <a16:creationId xmlns:a16="http://schemas.microsoft.com/office/drawing/2014/main" id="{5727D9AE-1C1E-1743-CDB3-B9081B750C63}"/>
              </a:ext>
            </a:extLst>
          </p:cNvPr>
          <p:cNvSpPr/>
          <p:nvPr/>
        </p:nvSpPr>
        <p:spPr>
          <a:xfrm>
            <a:off x="8839268" y="2266420"/>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Blog Website</a:t>
            </a:r>
          </a:p>
        </p:txBody>
      </p:sp>
      <p:sp>
        <p:nvSpPr>
          <p:cNvPr id="20" name="Rectangle: Rounded Corners 19">
            <a:extLst>
              <a:ext uri="{FF2B5EF4-FFF2-40B4-BE49-F238E27FC236}">
                <a16:creationId xmlns:a16="http://schemas.microsoft.com/office/drawing/2014/main" id="{53583CDD-EE13-226E-CAFB-DDA53BB029E8}"/>
              </a:ext>
            </a:extLst>
          </p:cNvPr>
          <p:cNvSpPr/>
          <p:nvPr/>
        </p:nvSpPr>
        <p:spPr>
          <a:xfrm>
            <a:off x="8839269" y="289982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Documentation Wiki</a:t>
            </a:r>
          </a:p>
        </p:txBody>
      </p:sp>
      <p:sp>
        <p:nvSpPr>
          <p:cNvPr id="21" name="Rectangle: Rounded Corners 20">
            <a:extLst>
              <a:ext uri="{FF2B5EF4-FFF2-40B4-BE49-F238E27FC236}">
                <a16:creationId xmlns:a16="http://schemas.microsoft.com/office/drawing/2014/main" id="{09B859D6-AB52-9033-597A-D18924AC3388}"/>
              </a:ext>
            </a:extLst>
          </p:cNvPr>
          <p:cNvSpPr/>
          <p:nvPr/>
        </p:nvSpPr>
        <p:spPr>
          <a:xfrm>
            <a:off x="8839269" y="4162311"/>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Podcast Platform</a:t>
            </a:r>
          </a:p>
        </p:txBody>
      </p:sp>
      <p:sp>
        <p:nvSpPr>
          <p:cNvPr id="22" name="Rectangle: Rounded Corners 21">
            <a:extLst>
              <a:ext uri="{FF2B5EF4-FFF2-40B4-BE49-F238E27FC236}">
                <a16:creationId xmlns:a16="http://schemas.microsoft.com/office/drawing/2014/main" id="{27327AB1-8F89-EFF0-E1C9-CA5FFEE90878}"/>
              </a:ext>
            </a:extLst>
          </p:cNvPr>
          <p:cNvSpPr/>
          <p:nvPr/>
        </p:nvSpPr>
        <p:spPr>
          <a:xfrm>
            <a:off x="8839269" y="352720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Video Platform</a:t>
            </a:r>
          </a:p>
        </p:txBody>
      </p:sp>
      <p:sp>
        <p:nvSpPr>
          <p:cNvPr id="23" name="Rectangle: Rounded Corners 22">
            <a:extLst>
              <a:ext uri="{FF2B5EF4-FFF2-40B4-BE49-F238E27FC236}">
                <a16:creationId xmlns:a16="http://schemas.microsoft.com/office/drawing/2014/main" id="{6030163C-7BDA-74FC-4266-8C175BA035E5}"/>
              </a:ext>
            </a:extLst>
          </p:cNvPr>
          <p:cNvSpPr/>
          <p:nvPr/>
        </p:nvSpPr>
        <p:spPr>
          <a:xfrm>
            <a:off x="8839269" y="4790094"/>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Slide Sharing Website</a:t>
            </a:r>
          </a:p>
        </p:txBody>
      </p:sp>
      <p:sp>
        <p:nvSpPr>
          <p:cNvPr id="25" name="Rectangle: Rounded Corners 24">
            <a:extLst>
              <a:ext uri="{FF2B5EF4-FFF2-40B4-BE49-F238E27FC236}">
                <a16:creationId xmlns:a16="http://schemas.microsoft.com/office/drawing/2014/main" id="{405F920A-D44D-C928-A661-3159163AB5B1}"/>
              </a:ext>
            </a:extLst>
          </p:cNvPr>
          <p:cNvSpPr/>
          <p:nvPr/>
        </p:nvSpPr>
        <p:spPr>
          <a:xfrm>
            <a:off x="4742986" y="1636936"/>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PDF / Images</a:t>
            </a:r>
          </a:p>
        </p:txBody>
      </p:sp>
      <p:sp>
        <p:nvSpPr>
          <p:cNvPr id="26" name="Rectangle: Rounded Corners 25">
            <a:extLst>
              <a:ext uri="{FF2B5EF4-FFF2-40B4-BE49-F238E27FC236}">
                <a16:creationId xmlns:a16="http://schemas.microsoft.com/office/drawing/2014/main" id="{21F0B83E-E08C-E7D6-4FAE-2B20ECED9219}"/>
              </a:ext>
            </a:extLst>
          </p:cNvPr>
          <p:cNvSpPr/>
          <p:nvPr/>
        </p:nvSpPr>
        <p:spPr>
          <a:xfrm>
            <a:off x="8839268" y="1636936"/>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Attach and Send Email</a:t>
            </a:r>
          </a:p>
        </p:txBody>
      </p:sp>
      <p:sp>
        <p:nvSpPr>
          <p:cNvPr id="27" name="Rectangle: Rounded Corners 26">
            <a:extLst>
              <a:ext uri="{FF2B5EF4-FFF2-40B4-BE49-F238E27FC236}">
                <a16:creationId xmlns:a16="http://schemas.microsoft.com/office/drawing/2014/main" id="{4820B031-7C3B-589D-5DC0-6F866DFF436C}"/>
              </a:ext>
            </a:extLst>
          </p:cNvPr>
          <p:cNvSpPr/>
          <p:nvPr/>
        </p:nvSpPr>
        <p:spPr>
          <a:xfrm>
            <a:off x="362558" y="800092"/>
            <a:ext cx="3274292"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Create</a:t>
            </a:r>
          </a:p>
        </p:txBody>
      </p:sp>
      <p:sp>
        <p:nvSpPr>
          <p:cNvPr id="28" name="Rectangle: Rounded Corners 27">
            <a:extLst>
              <a:ext uri="{FF2B5EF4-FFF2-40B4-BE49-F238E27FC236}">
                <a16:creationId xmlns:a16="http://schemas.microsoft.com/office/drawing/2014/main" id="{FAA183A3-4F4C-55E7-99D2-5F17AAE0C9C9}"/>
              </a:ext>
            </a:extLst>
          </p:cNvPr>
          <p:cNvSpPr/>
          <p:nvPr/>
        </p:nvSpPr>
        <p:spPr>
          <a:xfrm>
            <a:off x="4458854" y="800092"/>
            <a:ext cx="3274293"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Convert</a:t>
            </a:r>
          </a:p>
        </p:txBody>
      </p:sp>
      <p:cxnSp>
        <p:nvCxnSpPr>
          <p:cNvPr id="30" name="Straight Arrow Connector 29">
            <a:extLst>
              <a:ext uri="{FF2B5EF4-FFF2-40B4-BE49-F238E27FC236}">
                <a16:creationId xmlns:a16="http://schemas.microsoft.com/office/drawing/2014/main" id="{118ACC7C-710A-538F-B1CB-D365F57CFF03}"/>
              </a:ext>
            </a:extLst>
          </p:cNvPr>
          <p:cNvCxnSpPr>
            <a:cxnSpLocks/>
            <a:stCxn id="27" idx="3"/>
            <a:endCxn id="28" idx="1"/>
          </p:cNvCxnSpPr>
          <p:nvPr/>
        </p:nvCxnSpPr>
        <p:spPr>
          <a:xfrm>
            <a:off x="3636850" y="1096306"/>
            <a:ext cx="822004"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BAF6FCF-809C-D462-511A-50653E67C5F6}"/>
              </a:ext>
            </a:extLst>
          </p:cNvPr>
          <p:cNvCxnSpPr>
            <a:cxnSpLocks/>
            <a:stCxn id="28" idx="3"/>
            <a:endCxn id="13" idx="1"/>
          </p:cNvCxnSpPr>
          <p:nvPr/>
        </p:nvCxnSpPr>
        <p:spPr>
          <a:xfrm>
            <a:off x="7733147" y="1096306"/>
            <a:ext cx="821989"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62381DE2-80F8-107B-4478-3A4EB404DA92}"/>
              </a:ext>
            </a:extLst>
          </p:cNvPr>
          <p:cNvSpPr/>
          <p:nvPr/>
        </p:nvSpPr>
        <p:spPr>
          <a:xfrm>
            <a:off x="4458854" y="5720012"/>
            <a:ext cx="3274293" cy="592428"/>
          </a:xfrm>
          <a:prstGeom prst="roundRect">
            <a:avLst/>
          </a:prstGeom>
          <a:solidFill>
            <a:srgbClr val="00B050"/>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Automatic Outputs</a:t>
            </a:r>
          </a:p>
        </p:txBody>
      </p:sp>
      <p:sp>
        <p:nvSpPr>
          <p:cNvPr id="37" name="Rectangle: Rounded Corners 36">
            <a:extLst>
              <a:ext uri="{FF2B5EF4-FFF2-40B4-BE49-F238E27FC236}">
                <a16:creationId xmlns:a16="http://schemas.microsoft.com/office/drawing/2014/main" id="{CF03144A-10CC-91DF-0E30-6A423D2BEB46}"/>
              </a:ext>
            </a:extLst>
          </p:cNvPr>
          <p:cNvSpPr/>
          <p:nvPr/>
        </p:nvSpPr>
        <p:spPr>
          <a:xfrm>
            <a:off x="362557" y="5720012"/>
            <a:ext cx="3274292" cy="592428"/>
          </a:xfrm>
          <a:prstGeom prst="roundRect">
            <a:avLst/>
          </a:prstGeom>
          <a:solidFill>
            <a:srgbClr val="00B050"/>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One Editor</a:t>
            </a:r>
          </a:p>
        </p:txBody>
      </p:sp>
      <p:sp>
        <p:nvSpPr>
          <p:cNvPr id="38" name="Rectangle: Rounded Corners 37">
            <a:extLst>
              <a:ext uri="{FF2B5EF4-FFF2-40B4-BE49-F238E27FC236}">
                <a16:creationId xmlns:a16="http://schemas.microsoft.com/office/drawing/2014/main" id="{34AC68AC-100F-80D6-39FF-EA13660B5E76}"/>
              </a:ext>
            </a:extLst>
          </p:cNvPr>
          <p:cNvSpPr/>
          <p:nvPr/>
        </p:nvSpPr>
        <p:spPr>
          <a:xfrm>
            <a:off x="8555136" y="5720012"/>
            <a:ext cx="3274293" cy="592428"/>
          </a:xfrm>
          <a:prstGeom prst="roundRect">
            <a:avLst/>
          </a:prstGeom>
          <a:solidFill>
            <a:srgbClr val="00B050"/>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Easy Sharing</a:t>
            </a:r>
          </a:p>
        </p:txBody>
      </p:sp>
      <p:cxnSp>
        <p:nvCxnSpPr>
          <p:cNvPr id="39" name="Straight Arrow Connector 38">
            <a:extLst>
              <a:ext uri="{FF2B5EF4-FFF2-40B4-BE49-F238E27FC236}">
                <a16:creationId xmlns:a16="http://schemas.microsoft.com/office/drawing/2014/main" id="{C1034116-2875-5DD7-6D72-4934F4B90076}"/>
              </a:ext>
            </a:extLst>
          </p:cNvPr>
          <p:cNvCxnSpPr>
            <a:cxnSpLocks/>
            <a:stCxn id="16" idx="3"/>
            <a:endCxn id="25" idx="1"/>
          </p:cNvCxnSpPr>
          <p:nvPr/>
        </p:nvCxnSpPr>
        <p:spPr>
          <a:xfrm flipV="1">
            <a:off x="3352716" y="1933150"/>
            <a:ext cx="1390270" cy="150502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D144A4C4-533F-CD53-692F-751425CF6933}"/>
              </a:ext>
            </a:extLst>
          </p:cNvPr>
          <p:cNvCxnSpPr>
            <a:cxnSpLocks/>
            <a:stCxn id="16" idx="3"/>
            <a:endCxn id="8" idx="1"/>
          </p:cNvCxnSpPr>
          <p:nvPr/>
        </p:nvCxnSpPr>
        <p:spPr>
          <a:xfrm flipV="1">
            <a:off x="3352716" y="2562634"/>
            <a:ext cx="1390270" cy="87554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0D9BAA7-D1DB-2512-4042-D6F4B7BEE8F1}"/>
              </a:ext>
            </a:extLst>
          </p:cNvPr>
          <p:cNvCxnSpPr>
            <a:cxnSpLocks/>
            <a:stCxn id="16" idx="3"/>
            <a:endCxn id="9" idx="1"/>
          </p:cNvCxnSpPr>
          <p:nvPr/>
        </p:nvCxnSpPr>
        <p:spPr>
          <a:xfrm flipV="1">
            <a:off x="3352716" y="3196039"/>
            <a:ext cx="1390258" cy="24214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C80D24E-A908-E5BB-6ABF-09000CD34057}"/>
              </a:ext>
            </a:extLst>
          </p:cNvPr>
          <p:cNvCxnSpPr>
            <a:cxnSpLocks/>
            <a:stCxn id="16" idx="3"/>
            <a:endCxn id="11" idx="1"/>
          </p:cNvCxnSpPr>
          <p:nvPr/>
        </p:nvCxnSpPr>
        <p:spPr>
          <a:xfrm>
            <a:off x="3352716" y="3438179"/>
            <a:ext cx="1390271" cy="38524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22F5A749-17FB-E6E9-DFEB-94D2FE993BA8}"/>
              </a:ext>
            </a:extLst>
          </p:cNvPr>
          <p:cNvCxnSpPr>
            <a:cxnSpLocks/>
            <a:stCxn id="16" idx="3"/>
            <a:endCxn id="10" idx="1"/>
          </p:cNvCxnSpPr>
          <p:nvPr/>
        </p:nvCxnSpPr>
        <p:spPr>
          <a:xfrm>
            <a:off x="3352716" y="3438179"/>
            <a:ext cx="1390271" cy="102034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72041B19-6A8E-7BEF-C00E-15DF5EB89996}"/>
              </a:ext>
            </a:extLst>
          </p:cNvPr>
          <p:cNvCxnSpPr>
            <a:cxnSpLocks/>
            <a:stCxn id="16" idx="3"/>
            <a:endCxn id="12" idx="1"/>
          </p:cNvCxnSpPr>
          <p:nvPr/>
        </p:nvCxnSpPr>
        <p:spPr>
          <a:xfrm>
            <a:off x="3352716" y="3438179"/>
            <a:ext cx="1390271" cy="164812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383113A9-9FCF-61E3-AA7F-CD107B240B53}"/>
              </a:ext>
            </a:extLst>
          </p:cNvPr>
          <p:cNvCxnSpPr>
            <a:cxnSpLocks/>
            <a:stCxn id="25" idx="3"/>
            <a:endCxn id="26" idx="1"/>
          </p:cNvCxnSpPr>
          <p:nvPr/>
        </p:nvCxnSpPr>
        <p:spPr>
          <a:xfrm>
            <a:off x="7449012" y="1933150"/>
            <a:ext cx="1390256"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49123BCA-37E1-5FDB-AE2B-47A61026CF25}"/>
              </a:ext>
            </a:extLst>
          </p:cNvPr>
          <p:cNvCxnSpPr>
            <a:cxnSpLocks/>
            <a:stCxn id="8" idx="3"/>
            <a:endCxn id="19" idx="1"/>
          </p:cNvCxnSpPr>
          <p:nvPr/>
        </p:nvCxnSpPr>
        <p:spPr>
          <a:xfrm>
            <a:off x="7449012" y="2562634"/>
            <a:ext cx="1390256"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ED5C419F-92E9-EFE5-108E-C140A2062757}"/>
              </a:ext>
            </a:extLst>
          </p:cNvPr>
          <p:cNvCxnSpPr>
            <a:cxnSpLocks/>
            <a:stCxn id="9" idx="3"/>
            <a:endCxn id="20" idx="1"/>
          </p:cNvCxnSpPr>
          <p:nvPr/>
        </p:nvCxnSpPr>
        <p:spPr>
          <a:xfrm>
            <a:off x="7449001" y="3196039"/>
            <a:ext cx="139026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4E176ED6-4B49-E59C-428C-F71FAF455FE1}"/>
              </a:ext>
            </a:extLst>
          </p:cNvPr>
          <p:cNvCxnSpPr>
            <a:cxnSpLocks/>
            <a:stCxn id="11" idx="3"/>
            <a:endCxn id="22" idx="1"/>
          </p:cNvCxnSpPr>
          <p:nvPr/>
        </p:nvCxnSpPr>
        <p:spPr>
          <a:xfrm>
            <a:off x="7449014" y="3823419"/>
            <a:ext cx="139025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33409F5-1D32-4169-9430-44A694556FCC}"/>
              </a:ext>
            </a:extLst>
          </p:cNvPr>
          <p:cNvCxnSpPr>
            <a:cxnSpLocks/>
            <a:stCxn id="10" idx="3"/>
            <a:endCxn id="21" idx="1"/>
          </p:cNvCxnSpPr>
          <p:nvPr/>
        </p:nvCxnSpPr>
        <p:spPr>
          <a:xfrm>
            <a:off x="7449014" y="4458525"/>
            <a:ext cx="139025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DD4F75D5-4A16-3A4D-EC19-74D53C0EB34E}"/>
              </a:ext>
            </a:extLst>
          </p:cNvPr>
          <p:cNvCxnSpPr>
            <a:cxnSpLocks/>
            <a:stCxn id="12" idx="3"/>
            <a:endCxn id="23" idx="1"/>
          </p:cNvCxnSpPr>
          <p:nvPr/>
        </p:nvCxnSpPr>
        <p:spPr>
          <a:xfrm>
            <a:off x="7449014" y="5086308"/>
            <a:ext cx="139025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 name="WatchYouTubePicture" descr="http://www.logospike.com/wp-content/uploads/2014/11/Youtube_logo-4.png">
            <a:extLst>
              <a:ext uri="{FF2B5EF4-FFF2-40B4-BE49-F238E27FC236}">
                <a16:creationId xmlns:a16="http://schemas.microsoft.com/office/drawing/2014/main" id="{7006EFAB-1F33-7220-229C-CC44F3E11EA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98023" y="3631186"/>
            <a:ext cx="978744" cy="384465"/>
          </a:xfrm>
          <a:prstGeom prst="rect">
            <a:avLst/>
          </a:prstGeom>
          <a:noFill/>
          <a:extLst>
            <a:ext uri="{909E8E84-426E-40DD-AFC4-6F175D3DCCD1}">
              <a14:hiddenFill xmlns:a14="http://schemas.microsoft.com/office/drawing/2010/main">
                <a:solidFill>
                  <a:srgbClr val="FFFFFF"/>
                </a:solidFill>
              </a14:hiddenFill>
            </a:ext>
          </a:extLst>
        </p:spPr>
      </p:pic>
      <p:sp>
        <p:nvSpPr>
          <p:cNvPr id="49" name="Content Placeholder 48" hidden="1">
            <a:extLst>
              <a:ext uri="{FF2B5EF4-FFF2-40B4-BE49-F238E27FC236}">
                <a16:creationId xmlns:a16="http://schemas.microsoft.com/office/drawing/2014/main" id="{74538821-4BA2-C70D-5013-E736FE2F5670}"/>
              </a:ext>
            </a:extLst>
          </p:cNvPr>
          <p:cNvSpPr>
            <a:spLocks noGrp="1"/>
          </p:cNvSpPr>
          <p:nvPr>
            <p:ph sz="half" idx="2"/>
          </p:nvPr>
        </p:nvSpPr>
        <p:spPr/>
        <p:txBody>
          <a:bodyPr/>
          <a:lstStyle/>
          <a:p>
            <a:endParaRPr lang="en-US"/>
          </a:p>
        </p:txBody>
      </p:sp>
      <p:sp>
        <p:nvSpPr>
          <p:cNvPr id="2" name="Rectangle: Rounded Corners 1">
            <a:extLst>
              <a:ext uri="{FF2B5EF4-FFF2-40B4-BE49-F238E27FC236}">
                <a16:creationId xmlns:a16="http://schemas.microsoft.com/office/drawing/2014/main" id="{013A4D05-2A21-B433-5493-DDFFD53E00B7}"/>
              </a:ext>
            </a:extLst>
          </p:cNvPr>
          <p:cNvSpPr/>
          <p:nvPr/>
        </p:nvSpPr>
        <p:spPr>
          <a:xfrm>
            <a:off x="362557" y="102218"/>
            <a:ext cx="11463301" cy="592428"/>
          </a:xfrm>
          <a:prstGeom prst="roundRect">
            <a:avLst/>
          </a:prstGeom>
          <a:solidFill>
            <a:srgbClr val="00B050"/>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This needs to be Easier!</a:t>
            </a:r>
          </a:p>
        </p:txBody>
      </p:sp>
      <p:sp>
        <p:nvSpPr>
          <p:cNvPr id="6" name="Rectangle 5">
            <a:extLst>
              <a:ext uri="{FF2B5EF4-FFF2-40B4-BE49-F238E27FC236}">
                <a16:creationId xmlns:a16="http://schemas.microsoft.com/office/drawing/2014/main" id="{5D2DFBFA-DD20-97E5-9766-5BBD48E7EE9B}"/>
              </a:ext>
            </a:extLst>
          </p:cNvPr>
          <p:cNvSpPr/>
          <p:nvPr/>
        </p:nvSpPr>
        <p:spPr>
          <a:xfrm>
            <a:off x="10209803" y="2366419"/>
            <a:ext cx="1266964" cy="3791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2">
            <a:extLst>
              <a:ext uri="{FF2B5EF4-FFF2-40B4-BE49-F238E27FC236}">
                <a16:creationId xmlns:a16="http://schemas.microsoft.com/office/drawing/2014/main" id="{3A754E9B-577B-A8E5-B01E-90FEA31A37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32486" y="2416905"/>
            <a:ext cx="1221597" cy="2782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a:extLst>
              <a:ext uri="{FF2B5EF4-FFF2-40B4-BE49-F238E27FC236}">
                <a16:creationId xmlns:a16="http://schemas.microsoft.com/office/drawing/2014/main" id="{A5BA3187-1DC9-A052-9AE9-68634BDB770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304" t="11771" r="5304" b="12165"/>
          <a:stretch/>
        </p:blipFill>
        <p:spPr bwMode="auto">
          <a:xfrm>
            <a:off x="10618152" y="4316545"/>
            <a:ext cx="858615" cy="283960"/>
          </a:xfrm>
          <a:prstGeom prst="rect">
            <a:avLst/>
          </a:prstGeom>
          <a:noFill/>
          <a:extLst>
            <a:ext uri="{909E8E84-426E-40DD-AFC4-6F175D3DCCD1}">
              <a14:hiddenFill xmlns:a14="http://schemas.microsoft.com/office/drawing/2010/main">
                <a:solidFill>
                  <a:srgbClr val="FFFFFF"/>
                </a:solidFill>
              </a14:hiddenFill>
            </a:ext>
          </a:extLst>
        </p:spPr>
      </p:pic>
      <p:pic>
        <p:nvPicPr>
          <p:cNvPr id="24" name="Slide6">
            <a:hlinkClick r:id="" action="ppaction://media"/>
            <a:extLst>
              <a:ext uri="{FF2B5EF4-FFF2-40B4-BE49-F238E27FC236}">
                <a16:creationId xmlns:a16="http://schemas.microsoft.com/office/drawing/2014/main" id="{F9673F8E-2EA0-08E6-CA27-753E2006BA49}"/>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141556650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14543">
        <p159:morph option="byObject"/>
      </p:transition>
    </mc:Choice>
    <mc:Fallback>
      <p:transition spd="slow" advTm="1454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24"/>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24"/>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500"/>
                                        <p:tgtEl>
                                          <p:spTgt spid="3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5" fill="hold" display="0">
                  <p:stCondLst>
                    <p:cond delay="indefinite"/>
                  </p:stCondLst>
                  <p:endCondLst>
                    <p:cond evt="onStopAudio" delay="0">
                      <p:tgtEl>
                        <p:sldTgt/>
                      </p:tgtEl>
                    </p:cond>
                  </p:endCondLst>
                </p:cTn>
                <p:tgtEl>
                  <p:spTgt spid="24"/>
                </p:tgtEl>
              </p:cMediaNode>
            </p:audio>
          </p:childTnLst>
        </p:cTn>
      </p:par>
    </p:tnLst>
    <p:bldLst>
      <p:bldP spid="36" grpId="0" animBg="1" autoUpdateAnimBg="0"/>
      <p:bldP spid="37" grpId="0" animBg="1" autoUpdateAnimBg="0"/>
      <p:bldP spid="38" grpId="0" animBg="1" autoUpdateAnimBg="0"/>
    </p:bld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4D3B7F12-4F8B-68B8-B250-E5EF1A5703C9}"/>
              </a:ext>
            </a:extLst>
          </p:cNvPr>
          <p:cNvSpPr/>
          <p:nvPr/>
        </p:nvSpPr>
        <p:spPr>
          <a:xfrm>
            <a:off x="8551566" y="743040"/>
            <a:ext cx="3274292" cy="5775865"/>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652D06D5-C22F-70C8-F420-328171DE0607}"/>
              </a:ext>
            </a:extLst>
          </p:cNvPr>
          <p:cNvSpPr/>
          <p:nvPr/>
        </p:nvSpPr>
        <p:spPr>
          <a:xfrm>
            <a:off x="4457062" y="743041"/>
            <a:ext cx="3274292" cy="5775866"/>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3906ED3F-F27C-A111-5059-26EA44ADD0E3}"/>
              </a:ext>
            </a:extLst>
          </p:cNvPr>
          <p:cNvSpPr/>
          <p:nvPr/>
        </p:nvSpPr>
        <p:spPr>
          <a:xfrm>
            <a:off x="362557" y="744112"/>
            <a:ext cx="3274292" cy="5792496"/>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ectionNameTextPlaceholder">
            <a:extLst>
              <a:ext uri="{FF2B5EF4-FFF2-40B4-BE49-F238E27FC236}">
                <a16:creationId xmlns:a16="http://schemas.microsoft.com/office/drawing/2014/main" id="{0C7AE72B-6AB6-3EFC-5F9E-86CAF07E2FA7}"/>
              </a:ext>
            </a:extLst>
          </p:cNvPr>
          <p:cNvSpPr>
            <a:spLocks noGrp="1"/>
          </p:cNvSpPr>
          <p:nvPr>
            <p:ph type="body" idx="1"/>
          </p:nvPr>
        </p:nvSpPr>
        <p:spPr/>
        <p:txBody>
          <a:bodyPr/>
          <a:lstStyle/>
          <a:p>
            <a:r>
              <a:rPr lang="en-US" dirty="0"/>
              <a:t>Text-to-Speech with Michelle - a Male Voice</a:t>
            </a:r>
          </a:p>
        </p:txBody>
      </p:sp>
      <p:sp>
        <p:nvSpPr>
          <p:cNvPr id="4" name="Title 3" hidden="1">
            <a:extLst>
              <a:ext uri="{FF2B5EF4-FFF2-40B4-BE49-F238E27FC236}">
                <a16:creationId xmlns:a16="http://schemas.microsoft.com/office/drawing/2014/main" id="{F9D699A0-C6AA-33D2-1B78-978C1CBF88A3}"/>
              </a:ext>
            </a:extLst>
          </p:cNvPr>
          <p:cNvSpPr>
            <a:spLocks noGrp="1"/>
          </p:cNvSpPr>
          <p:nvPr>
            <p:ph type="title"/>
          </p:nvPr>
        </p:nvSpPr>
        <p:spPr/>
        <p:txBody>
          <a:bodyPr/>
          <a:lstStyle/>
          <a:p>
            <a:r>
              <a:rPr lang="en-US" dirty="0"/>
              <a:t>The Fix</a:t>
            </a:r>
          </a:p>
        </p:txBody>
      </p:sp>
      <p:sp>
        <p:nvSpPr>
          <p:cNvPr id="7" name="Text Placeholder 6">
            <a:extLst>
              <a:ext uri="{FF2B5EF4-FFF2-40B4-BE49-F238E27FC236}">
                <a16:creationId xmlns:a16="http://schemas.microsoft.com/office/drawing/2014/main" id="{A6C57BC0-ECCB-A695-BDD1-E5476A537B4D}"/>
              </a:ext>
            </a:extLst>
          </p:cNvPr>
          <p:cNvSpPr>
            <a:spLocks noGrp="1"/>
          </p:cNvSpPr>
          <p:nvPr>
            <p:ph type="body" sz="quarter" idx="3"/>
          </p:nvPr>
        </p:nvSpPr>
        <p:spPr/>
        <p:txBody>
          <a:bodyPr/>
          <a:lstStyle/>
          <a:p>
            <a:endParaRPr lang="en-US" dirty="0"/>
          </a:p>
        </p:txBody>
      </p:sp>
      <p:sp>
        <p:nvSpPr>
          <p:cNvPr id="8" name="Rectangle: Rounded Corners 7">
            <a:extLst>
              <a:ext uri="{FF2B5EF4-FFF2-40B4-BE49-F238E27FC236}">
                <a16:creationId xmlns:a16="http://schemas.microsoft.com/office/drawing/2014/main" id="{FF4DC1DB-DFF1-4A72-3A52-303702BFD175}"/>
              </a:ext>
            </a:extLst>
          </p:cNvPr>
          <p:cNvSpPr/>
          <p:nvPr/>
        </p:nvSpPr>
        <p:spPr>
          <a:xfrm>
            <a:off x="4742986" y="2266420"/>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Blog Post</a:t>
            </a:r>
          </a:p>
        </p:txBody>
      </p:sp>
      <p:sp>
        <p:nvSpPr>
          <p:cNvPr id="9" name="Rectangle: Rounded Corners 8">
            <a:extLst>
              <a:ext uri="{FF2B5EF4-FFF2-40B4-BE49-F238E27FC236}">
                <a16:creationId xmlns:a16="http://schemas.microsoft.com/office/drawing/2014/main" id="{BAB15368-4B64-D7B7-9229-5D339C0BC18B}"/>
              </a:ext>
            </a:extLst>
          </p:cNvPr>
          <p:cNvSpPr/>
          <p:nvPr/>
        </p:nvSpPr>
        <p:spPr>
          <a:xfrm>
            <a:off x="4742974" y="289982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Documentation Article</a:t>
            </a:r>
          </a:p>
        </p:txBody>
      </p:sp>
      <p:sp>
        <p:nvSpPr>
          <p:cNvPr id="10" name="Rectangle: Rounded Corners 9">
            <a:extLst>
              <a:ext uri="{FF2B5EF4-FFF2-40B4-BE49-F238E27FC236}">
                <a16:creationId xmlns:a16="http://schemas.microsoft.com/office/drawing/2014/main" id="{40F09698-155A-0B36-81E3-E1E4D9BB01F8}"/>
              </a:ext>
            </a:extLst>
          </p:cNvPr>
          <p:cNvSpPr/>
          <p:nvPr/>
        </p:nvSpPr>
        <p:spPr>
          <a:xfrm>
            <a:off x="4742987" y="4162311"/>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Audio File (.mp3)</a:t>
            </a:r>
          </a:p>
        </p:txBody>
      </p:sp>
      <p:sp>
        <p:nvSpPr>
          <p:cNvPr id="11" name="Rectangle: Rounded Corners 10">
            <a:extLst>
              <a:ext uri="{FF2B5EF4-FFF2-40B4-BE49-F238E27FC236}">
                <a16:creationId xmlns:a16="http://schemas.microsoft.com/office/drawing/2014/main" id="{753A0502-37B3-F31C-6AAD-845E34F092DF}"/>
              </a:ext>
            </a:extLst>
          </p:cNvPr>
          <p:cNvSpPr/>
          <p:nvPr/>
        </p:nvSpPr>
        <p:spPr>
          <a:xfrm>
            <a:off x="4742987" y="352720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Video File (.mp4)</a:t>
            </a:r>
          </a:p>
        </p:txBody>
      </p:sp>
      <p:sp>
        <p:nvSpPr>
          <p:cNvPr id="12" name="Rectangle: Rounded Corners 11">
            <a:extLst>
              <a:ext uri="{FF2B5EF4-FFF2-40B4-BE49-F238E27FC236}">
                <a16:creationId xmlns:a16="http://schemas.microsoft.com/office/drawing/2014/main" id="{FDBDFA76-E672-0491-D0BF-C680C1EAEE46}"/>
              </a:ext>
            </a:extLst>
          </p:cNvPr>
          <p:cNvSpPr/>
          <p:nvPr/>
        </p:nvSpPr>
        <p:spPr>
          <a:xfrm>
            <a:off x="4742987" y="4790094"/>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Online Presentation</a:t>
            </a:r>
          </a:p>
        </p:txBody>
      </p:sp>
      <p:sp>
        <p:nvSpPr>
          <p:cNvPr id="13" name="Rectangle: Rounded Corners 12">
            <a:extLst>
              <a:ext uri="{FF2B5EF4-FFF2-40B4-BE49-F238E27FC236}">
                <a16:creationId xmlns:a16="http://schemas.microsoft.com/office/drawing/2014/main" id="{3DD71CFE-F254-8FBF-2E37-63A9CEF8D329}"/>
              </a:ext>
            </a:extLst>
          </p:cNvPr>
          <p:cNvSpPr/>
          <p:nvPr/>
        </p:nvSpPr>
        <p:spPr>
          <a:xfrm>
            <a:off x="8555136" y="800092"/>
            <a:ext cx="3274293"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Publish</a:t>
            </a:r>
          </a:p>
        </p:txBody>
      </p:sp>
      <p:sp>
        <p:nvSpPr>
          <p:cNvPr id="16" name="Rectangle: Rounded Corners 15">
            <a:extLst>
              <a:ext uri="{FF2B5EF4-FFF2-40B4-BE49-F238E27FC236}">
                <a16:creationId xmlns:a16="http://schemas.microsoft.com/office/drawing/2014/main" id="{3A1731E7-2DB6-5BA1-2AD5-DAE30EBD705B}"/>
              </a:ext>
            </a:extLst>
          </p:cNvPr>
          <p:cNvSpPr/>
          <p:nvPr/>
        </p:nvSpPr>
        <p:spPr>
          <a:xfrm>
            <a:off x="646690" y="1493836"/>
            <a:ext cx="2706026" cy="388868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t>Slides Editor</a:t>
            </a:r>
          </a:p>
        </p:txBody>
      </p:sp>
      <p:sp>
        <p:nvSpPr>
          <p:cNvPr id="19" name="Rectangle: Rounded Corners 18">
            <a:extLst>
              <a:ext uri="{FF2B5EF4-FFF2-40B4-BE49-F238E27FC236}">
                <a16:creationId xmlns:a16="http://schemas.microsoft.com/office/drawing/2014/main" id="{5727D9AE-1C1E-1743-CDB3-B9081B750C63}"/>
              </a:ext>
            </a:extLst>
          </p:cNvPr>
          <p:cNvSpPr/>
          <p:nvPr/>
        </p:nvSpPr>
        <p:spPr>
          <a:xfrm>
            <a:off x="8839268" y="2266420"/>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Blog Website</a:t>
            </a:r>
          </a:p>
        </p:txBody>
      </p:sp>
      <p:sp>
        <p:nvSpPr>
          <p:cNvPr id="20" name="Rectangle: Rounded Corners 19">
            <a:extLst>
              <a:ext uri="{FF2B5EF4-FFF2-40B4-BE49-F238E27FC236}">
                <a16:creationId xmlns:a16="http://schemas.microsoft.com/office/drawing/2014/main" id="{53583CDD-EE13-226E-CAFB-DDA53BB029E8}"/>
              </a:ext>
            </a:extLst>
          </p:cNvPr>
          <p:cNvSpPr/>
          <p:nvPr/>
        </p:nvSpPr>
        <p:spPr>
          <a:xfrm>
            <a:off x="8839269" y="289982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Documentation Wiki</a:t>
            </a:r>
          </a:p>
        </p:txBody>
      </p:sp>
      <p:sp>
        <p:nvSpPr>
          <p:cNvPr id="21" name="Rectangle: Rounded Corners 20">
            <a:extLst>
              <a:ext uri="{FF2B5EF4-FFF2-40B4-BE49-F238E27FC236}">
                <a16:creationId xmlns:a16="http://schemas.microsoft.com/office/drawing/2014/main" id="{09B859D6-AB52-9033-597A-D18924AC3388}"/>
              </a:ext>
            </a:extLst>
          </p:cNvPr>
          <p:cNvSpPr/>
          <p:nvPr/>
        </p:nvSpPr>
        <p:spPr>
          <a:xfrm>
            <a:off x="8839269" y="4162311"/>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Podcast Platform</a:t>
            </a:r>
          </a:p>
        </p:txBody>
      </p:sp>
      <p:sp>
        <p:nvSpPr>
          <p:cNvPr id="22" name="Rectangle: Rounded Corners 21">
            <a:extLst>
              <a:ext uri="{FF2B5EF4-FFF2-40B4-BE49-F238E27FC236}">
                <a16:creationId xmlns:a16="http://schemas.microsoft.com/office/drawing/2014/main" id="{27327AB1-8F89-EFF0-E1C9-CA5FFEE90878}"/>
              </a:ext>
            </a:extLst>
          </p:cNvPr>
          <p:cNvSpPr/>
          <p:nvPr/>
        </p:nvSpPr>
        <p:spPr>
          <a:xfrm>
            <a:off x="8839269" y="3527205"/>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Video Platform</a:t>
            </a:r>
          </a:p>
        </p:txBody>
      </p:sp>
      <p:sp>
        <p:nvSpPr>
          <p:cNvPr id="23" name="Rectangle: Rounded Corners 22">
            <a:extLst>
              <a:ext uri="{FF2B5EF4-FFF2-40B4-BE49-F238E27FC236}">
                <a16:creationId xmlns:a16="http://schemas.microsoft.com/office/drawing/2014/main" id="{6030163C-7BDA-74FC-4266-8C175BA035E5}"/>
              </a:ext>
            </a:extLst>
          </p:cNvPr>
          <p:cNvSpPr/>
          <p:nvPr/>
        </p:nvSpPr>
        <p:spPr>
          <a:xfrm>
            <a:off x="8839269" y="4790094"/>
            <a:ext cx="2706027"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Slide Sharing Website</a:t>
            </a:r>
          </a:p>
        </p:txBody>
      </p:sp>
      <p:sp>
        <p:nvSpPr>
          <p:cNvPr id="25" name="Rectangle: Rounded Corners 24">
            <a:extLst>
              <a:ext uri="{FF2B5EF4-FFF2-40B4-BE49-F238E27FC236}">
                <a16:creationId xmlns:a16="http://schemas.microsoft.com/office/drawing/2014/main" id="{405F920A-D44D-C928-A661-3159163AB5B1}"/>
              </a:ext>
            </a:extLst>
          </p:cNvPr>
          <p:cNvSpPr/>
          <p:nvPr/>
        </p:nvSpPr>
        <p:spPr>
          <a:xfrm>
            <a:off x="4742986" y="1636936"/>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PDF / Images</a:t>
            </a:r>
          </a:p>
        </p:txBody>
      </p:sp>
      <p:sp>
        <p:nvSpPr>
          <p:cNvPr id="26" name="Rectangle: Rounded Corners 25">
            <a:extLst>
              <a:ext uri="{FF2B5EF4-FFF2-40B4-BE49-F238E27FC236}">
                <a16:creationId xmlns:a16="http://schemas.microsoft.com/office/drawing/2014/main" id="{21F0B83E-E08C-E7D6-4FAE-2B20ECED9219}"/>
              </a:ext>
            </a:extLst>
          </p:cNvPr>
          <p:cNvSpPr/>
          <p:nvPr/>
        </p:nvSpPr>
        <p:spPr>
          <a:xfrm>
            <a:off x="8839268" y="1636936"/>
            <a:ext cx="2706026" cy="59242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Attach and Send Email</a:t>
            </a:r>
          </a:p>
        </p:txBody>
      </p:sp>
      <p:sp>
        <p:nvSpPr>
          <p:cNvPr id="27" name="Rectangle: Rounded Corners 26">
            <a:extLst>
              <a:ext uri="{FF2B5EF4-FFF2-40B4-BE49-F238E27FC236}">
                <a16:creationId xmlns:a16="http://schemas.microsoft.com/office/drawing/2014/main" id="{4820B031-7C3B-589D-5DC0-6F866DFF436C}"/>
              </a:ext>
            </a:extLst>
          </p:cNvPr>
          <p:cNvSpPr/>
          <p:nvPr/>
        </p:nvSpPr>
        <p:spPr>
          <a:xfrm>
            <a:off x="362558" y="800092"/>
            <a:ext cx="3274292"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Create</a:t>
            </a:r>
          </a:p>
        </p:txBody>
      </p:sp>
      <p:sp>
        <p:nvSpPr>
          <p:cNvPr id="28" name="Rectangle: Rounded Corners 27">
            <a:extLst>
              <a:ext uri="{FF2B5EF4-FFF2-40B4-BE49-F238E27FC236}">
                <a16:creationId xmlns:a16="http://schemas.microsoft.com/office/drawing/2014/main" id="{FAA183A3-4F4C-55E7-99D2-5F17AAE0C9C9}"/>
              </a:ext>
            </a:extLst>
          </p:cNvPr>
          <p:cNvSpPr/>
          <p:nvPr/>
        </p:nvSpPr>
        <p:spPr>
          <a:xfrm>
            <a:off x="4458854" y="800092"/>
            <a:ext cx="3274293"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Convert</a:t>
            </a:r>
          </a:p>
        </p:txBody>
      </p:sp>
      <p:cxnSp>
        <p:nvCxnSpPr>
          <p:cNvPr id="30" name="Straight Arrow Connector 29">
            <a:extLst>
              <a:ext uri="{FF2B5EF4-FFF2-40B4-BE49-F238E27FC236}">
                <a16:creationId xmlns:a16="http://schemas.microsoft.com/office/drawing/2014/main" id="{118ACC7C-710A-538F-B1CB-D365F57CFF03}"/>
              </a:ext>
            </a:extLst>
          </p:cNvPr>
          <p:cNvCxnSpPr>
            <a:cxnSpLocks/>
            <a:stCxn id="27" idx="3"/>
            <a:endCxn id="28" idx="1"/>
          </p:cNvCxnSpPr>
          <p:nvPr/>
        </p:nvCxnSpPr>
        <p:spPr>
          <a:xfrm>
            <a:off x="3636850" y="1096306"/>
            <a:ext cx="822004"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BAF6FCF-809C-D462-511A-50653E67C5F6}"/>
              </a:ext>
            </a:extLst>
          </p:cNvPr>
          <p:cNvCxnSpPr>
            <a:cxnSpLocks/>
            <a:stCxn id="28" idx="3"/>
            <a:endCxn id="13" idx="1"/>
          </p:cNvCxnSpPr>
          <p:nvPr/>
        </p:nvCxnSpPr>
        <p:spPr>
          <a:xfrm>
            <a:off x="7733147" y="1096306"/>
            <a:ext cx="821989"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C1034116-2875-5DD7-6D72-4934F4B90076}"/>
              </a:ext>
            </a:extLst>
          </p:cNvPr>
          <p:cNvCxnSpPr>
            <a:cxnSpLocks/>
            <a:stCxn id="16" idx="3"/>
            <a:endCxn id="25" idx="1"/>
          </p:cNvCxnSpPr>
          <p:nvPr/>
        </p:nvCxnSpPr>
        <p:spPr>
          <a:xfrm flipV="1">
            <a:off x="3352716" y="1933150"/>
            <a:ext cx="1390270" cy="150502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D144A4C4-533F-CD53-692F-751425CF6933}"/>
              </a:ext>
            </a:extLst>
          </p:cNvPr>
          <p:cNvCxnSpPr>
            <a:cxnSpLocks/>
            <a:stCxn id="16" idx="3"/>
            <a:endCxn id="8" idx="1"/>
          </p:cNvCxnSpPr>
          <p:nvPr/>
        </p:nvCxnSpPr>
        <p:spPr>
          <a:xfrm flipV="1">
            <a:off x="3352716" y="2562634"/>
            <a:ext cx="1390270" cy="87554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0D9BAA7-D1DB-2512-4042-D6F4B7BEE8F1}"/>
              </a:ext>
            </a:extLst>
          </p:cNvPr>
          <p:cNvCxnSpPr>
            <a:cxnSpLocks/>
            <a:stCxn id="16" idx="3"/>
            <a:endCxn id="9" idx="1"/>
          </p:cNvCxnSpPr>
          <p:nvPr/>
        </p:nvCxnSpPr>
        <p:spPr>
          <a:xfrm flipV="1">
            <a:off x="3352716" y="3196039"/>
            <a:ext cx="1390258" cy="24214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C80D24E-A908-E5BB-6ABF-09000CD34057}"/>
              </a:ext>
            </a:extLst>
          </p:cNvPr>
          <p:cNvCxnSpPr>
            <a:cxnSpLocks/>
            <a:stCxn id="16" idx="3"/>
            <a:endCxn id="11" idx="1"/>
          </p:cNvCxnSpPr>
          <p:nvPr/>
        </p:nvCxnSpPr>
        <p:spPr>
          <a:xfrm>
            <a:off x="3352716" y="3438179"/>
            <a:ext cx="1390271" cy="38524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22F5A749-17FB-E6E9-DFEB-94D2FE993BA8}"/>
              </a:ext>
            </a:extLst>
          </p:cNvPr>
          <p:cNvCxnSpPr>
            <a:cxnSpLocks/>
            <a:stCxn id="16" idx="3"/>
            <a:endCxn id="10" idx="1"/>
          </p:cNvCxnSpPr>
          <p:nvPr/>
        </p:nvCxnSpPr>
        <p:spPr>
          <a:xfrm>
            <a:off x="3352716" y="3438179"/>
            <a:ext cx="1390271" cy="102034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72041B19-6A8E-7BEF-C00E-15DF5EB89996}"/>
              </a:ext>
            </a:extLst>
          </p:cNvPr>
          <p:cNvCxnSpPr>
            <a:cxnSpLocks/>
            <a:stCxn id="16" idx="3"/>
            <a:endCxn id="12" idx="1"/>
          </p:cNvCxnSpPr>
          <p:nvPr/>
        </p:nvCxnSpPr>
        <p:spPr>
          <a:xfrm>
            <a:off x="3352716" y="3438179"/>
            <a:ext cx="1390271" cy="164812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383113A9-9FCF-61E3-AA7F-CD107B240B53}"/>
              </a:ext>
            </a:extLst>
          </p:cNvPr>
          <p:cNvCxnSpPr>
            <a:cxnSpLocks/>
            <a:stCxn id="25" idx="3"/>
            <a:endCxn id="26" idx="1"/>
          </p:cNvCxnSpPr>
          <p:nvPr/>
        </p:nvCxnSpPr>
        <p:spPr>
          <a:xfrm>
            <a:off x="7449012" y="1933150"/>
            <a:ext cx="1390256"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49123BCA-37E1-5FDB-AE2B-47A61026CF25}"/>
              </a:ext>
            </a:extLst>
          </p:cNvPr>
          <p:cNvCxnSpPr>
            <a:cxnSpLocks/>
            <a:stCxn id="8" idx="3"/>
            <a:endCxn id="19" idx="1"/>
          </p:cNvCxnSpPr>
          <p:nvPr/>
        </p:nvCxnSpPr>
        <p:spPr>
          <a:xfrm>
            <a:off x="7449012" y="2562634"/>
            <a:ext cx="1390256"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ED5C419F-92E9-EFE5-108E-C140A2062757}"/>
              </a:ext>
            </a:extLst>
          </p:cNvPr>
          <p:cNvCxnSpPr>
            <a:cxnSpLocks/>
            <a:stCxn id="9" idx="3"/>
            <a:endCxn id="20" idx="1"/>
          </p:cNvCxnSpPr>
          <p:nvPr/>
        </p:nvCxnSpPr>
        <p:spPr>
          <a:xfrm>
            <a:off x="7449001" y="3196039"/>
            <a:ext cx="139026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4E176ED6-4B49-E59C-428C-F71FAF455FE1}"/>
              </a:ext>
            </a:extLst>
          </p:cNvPr>
          <p:cNvCxnSpPr>
            <a:cxnSpLocks/>
            <a:stCxn id="11" idx="3"/>
            <a:endCxn id="22" idx="1"/>
          </p:cNvCxnSpPr>
          <p:nvPr/>
        </p:nvCxnSpPr>
        <p:spPr>
          <a:xfrm>
            <a:off x="7449014" y="3823419"/>
            <a:ext cx="139025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33409F5-1D32-4169-9430-44A694556FCC}"/>
              </a:ext>
            </a:extLst>
          </p:cNvPr>
          <p:cNvCxnSpPr>
            <a:cxnSpLocks/>
            <a:stCxn id="10" idx="3"/>
            <a:endCxn id="21" idx="1"/>
          </p:cNvCxnSpPr>
          <p:nvPr/>
        </p:nvCxnSpPr>
        <p:spPr>
          <a:xfrm>
            <a:off x="7449014" y="4458525"/>
            <a:ext cx="139025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DD4F75D5-4A16-3A4D-EC19-74D53C0EB34E}"/>
              </a:ext>
            </a:extLst>
          </p:cNvPr>
          <p:cNvCxnSpPr>
            <a:cxnSpLocks/>
            <a:stCxn id="12" idx="3"/>
            <a:endCxn id="23" idx="1"/>
          </p:cNvCxnSpPr>
          <p:nvPr/>
        </p:nvCxnSpPr>
        <p:spPr>
          <a:xfrm>
            <a:off x="7449014" y="5086308"/>
            <a:ext cx="139025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 name="WatchYouTubePicture" descr="http://www.logospike.com/wp-content/uploads/2014/11/Youtube_logo-4.png">
            <a:extLst>
              <a:ext uri="{FF2B5EF4-FFF2-40B4-BE49-F238E27FC236}">
                <a16:creationId xmlns:a16="http://schemas.microsoft.com/office/drawing/2014/main" id="{7006EFAB-1F33-7220-229C-CC44F3E11EA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98023" y="3631186"/>
            <a:ext cx="978744" cy="384465"/>
          </a:xfrm>
          <a:prstGeom prst="rect">
            <a:avLst/>
          </a:prstGeom>
          <a:noFill/>
          <a:extLst>
            <a:ext uri="{909E8E84-426E-40DD-AFC4-6F175D3DCCD1}">
              <a14:hiddenFill xmlns:a14="http://schemas.microsoft.com/office/drawing/2010/main">
                <a:solidFill>
                  <a:srgbClr val="FFFFFF"/>
                </a:solidFill>
              </a14:hiddenFill>
            </a:ext>
          </a:extLst>
        </p:spPr>
      </p:pic>
      <p:pic>
        <p:nvPicPr>
          <p:cNvPr id="43" name="Content Placeholder 11" descr="A picture containing text, font, screenshot, graphics&#10;&#10;Description automatically generated">
            <a:extLst>
              <a:ext uri="{FF2B5EF4-FFF2-40B4-BE49-F238E27FC236}">
                <a16:creationId xmlns:a16="http://schemas.microsoft.com/office/drawing/2014/main" id="{2A96381C-DC2C-49EB-2DFF-356A29814BD8}"/>
              </a:ext>
            </a:extLst>
          </p:cNvPr>
          <p:cNvPicPr>
            <a:picLocks noChangeAspect="1"/>
          </p:cNvPicPr>
          <p:nvPr/>
        </p:nvPicPr>
        <p:blipFill>
          <a:blip r:embed="rId7"/>
          <a:stretch>
            <a:fillRect/>
          </a:stretch>
        </p:blipFill>
        <p:spPr>
          <a:xfrm>
            <a:off x="864537" y="3594728"/>
            <a:ext cx="2270332" cy="1135166"/>
          </a:xfrm>
          <a:prstGeom prst="rect">
            <a:avLst/>
          </a:prstGeom>
        </p:spPr>
      </p:pic>
      <p:sp>
        <p:nvSpPr>
          <p:cNvPr id="6" name="Rectangle: Rounded Corners 5">
            <a:extLst>
              <a:ext uri="{FF2B5EF4-FFF2-40B4-BE49-F238E27FC236}">
                <a16:creationId xmlns:a16="http://schemas.microsoft.com/office/drawing/2014/main" id="{5655D3BA-3A9C-F57B-F498-B40878D4D802}"/>
              </a:ext>
            </a:extLst>
          </p:cNvPr>
          <p:cNvSpPr/>
          <p:nvPr/>
        </p:nvSpPr>
        <p:spPr>
          <a:xfrm>
            <a:off x="4741194" y="5406419"/>
            <a:ext cx="2706027" cy="101174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t>Multimodal Web Page</a:t>
            </a:r>
          </a:p>
        </p:txBody>
      </p:sp>
      <p:sp>
        <p:nvSpPr>
          <p:cNvPr id="14" name="Rectangle: Rounded Corners 13">
            <a:extLst>
              <a:ext uri="{FF2B5EF4-FFF2-40B4-BE49-F238E27FC236}">
                <a16:creationId xmlns:a16="http://schemas.microsoft.com/office/drawing/2014/main" id="{A33C2DBF-AF24-2CBF-98C7-DE0904D2F727}"/>
              </a:ext>
            </a:extLst>
          </p:cNvPr>
          <p:cNvSpPr/>
          <p:nvPr/>
        </p:nvSpPr>
        <p:spPr>
          <a:xfrm>
            <a:off x="646690" y="5406420"/>
            <a:ext cx="2706027" cy="101274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t>Practical AI Assistance</a:t>
            </a:r>
          </a:p>
        </p:txBody>
      </p:sp>
      <p:sp>
        <p:nvSpPr>
          <p:cNvPr id="15" name="Rectangle: Rounded Corners 14">
            <a:extLst>
              <a:ext uri="{FF2B5EF4-FFF2-40B4-BE49-F238E27FC236}">
                <a16:creationId xmlns:a16="http://schemas.microsoft.com/office/drawing/2014/main" id="{DF298036-8902-EBEF-B744-7F1217CE232F}"/>
              </a:ext>
            </a:extLst>
          </p:cNvPr>
          <p:cNvSpPr/>
          <p:nvPr/>
        </p:nvSpPr>
        <p:spPr>
          <a:xfrm>
            <a:off x="8834439" y="5406417"/>
            <a:ext cx="2706027" cy="101174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t>Multimodal Website</a:t>
            </a:r>
          </a:p>
        </p:txBody>
      </p:sp>
      <p:pic>
        <p:nvPicPr>
          <p:cNvPr id="18" name="Content Placeholder 17b" descr="A close up of a sign&#10;&#10;Description automatically generated">
            <a:extLst>
              <a:ext uri="{FF2B5EF4-FFF2-40B4-BE49-F238E27FC236}">
                <a16:creationId xmlns:a16="http://schemas.microsoft.com/office/drawing/2014/main" id="{89141B30-894A-EE65-A0D5-761FB5094AA9}"/>
              </a:ext>
            </a:extLst>
          </p:cNvPr>
          <p:cNvPicPr>
            <a:picLocks noGrp="1" noChangeAspect="1"/>
          </p:cNvPicPr>
          <p:nvPr>
            <p:ph sz="half" idx="2"/>
          </p:nvPr>
        </p:nvPicPr>
        <p:blipFill>
          <a:blip r:embed="rId8"/>
          <a:stretch>
            <a:fillRect/>
          </a:stretch>
        </p:blipFill>
        <p:spPr>
          <a:xfrm>
            <a:off x="5833781" y="5823569"/>
            <a:ext cx="1613440" cy="715964"/>
          </a:xfrm>
        </p:spPr>
      </p:pic>
      <p:pic>
        <p:nvPicPr>
          <p:cNvPr id="29" name="Content Placeholder 17a" descr="A close up of a sign&#10;&#10;Description automatically generated">
            <a:extLst>
              <a:ext uri="{FF2B5EF4-FFF2-40B4-BE49-F238E27FC236}">
                <a16:creationId xmlns:a16="http://schemas.microsoft.com/office/drawing/2014/main" id="{0FBDDA9A-DA7B-2F51-B0E0-B167685DCACD}"/>
              </a:ext>
            </a:extLst>
          </p:cNvPr>
          <p:cNvPicPr>
            <a:picLocks noChangeAspect="1"/>
          </p:cNvPicPr>
          <p:nvPr/>
        </p:nvPicPr>
        <p:blipFill>
          <a:blip r:embed="rId8"/>
          <a:stretch>
            <a:fillRect/>
          </a:stretch>
        </p:blipFill>
        <p:spPr>
          <a:xfrm>
            <a:off x="1708502" y="5816350"/>
            <a:ext cx="1613440" cy="715964"/>
          </a:xfrm>
          <a:prstGeom prst="rect">
            <a:avLst/>
          </a:prstGeom>
        </p:spPr>
      </p:pic>
      <p:pic>
        <p:nvPicPr>
          <p:cNvPr id="32" name="Content Placeholder 17" descr="A close up of a sign&#10;&#10;Description automatically generated">
            <a:extLst>
              <a:ext uri="{FF2B5EF4-FFF2-40B4-BE49-F238E27FC236}">
                <a16:creationId xmlns:a16="http://schemas.microsoft.com/office/drawing/2014/main" id="{44E9BC89-EA0D-D192-4C44-2A5F1886D360}"/>
              </a:ext>
            </a:extLst>
          </p:cNvPr>
          <p:cNvPicPr>
            <a:picLocks noChangeAspect="1"/>
          </p:cNvPicPr>
          <p:nvPr/>
        </p:nvPicPr>
        <p:blipFill>
          <a:blip r:embed="rId8"/>
          <a:stretch>
            <a:fillRect/>
          </a:stretch>
        </p:blipFill>
        <p:spPr>
          <a:xfrm>
            <a:off x="9927026" y="5809464"/>
            <a:ext cx="1613440" cy="715964"/>
          </a:xfrm>
          <a:prstGeom prst="rect">
            <a:avLst/>
          </a:prstGeom>
        </p:spPr>
      </p:pic>
      <p:cxnSp>
        <p:nvCxnSpPr>
          <p:cNvPr id="33" name="Straight Arrow Connector 32">
            <a:extLst>
              <a:ext uri="{FF2B5EF4-FFF2-40B4-BE49-F238E27FC236}">
                <a16:creationId xmlns:a16="http://schemas.microsoft.com/office/drawing/2014/main" id="{A1F5B768-F218-4A80-FD24-C3FAB26713F6}"/>
              </a:ext>
            </a:extLst>
          </p:cNvPr>
          <p:cNvCxnSpPr>
            <a:cxnSpLocks/>
            <a:stCxn id="16" idx="3"/>
            <a:endCxn id="6" idx="1"/>
          </p:cNvCxnSpPr>
          <p:nvPr/>
        </p:nvCxnSpPr>
        <p:spPr>
          <a:xfrm>
            <a:off x="3352716" y="3438179"/>
            <a:ext cx="1388478" cy="247411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869FF904-0895-1E48-6D27-95DAC6125EA3}"/>
              </a:ext>
            </a:extLst>
          </p:cNvPr>
          <p:cNvCxnSpPr>
            <a:cxnSpLocks/>
            <a:stCxn id="6" idx="3"/>
            <a:endCxn id="15" idx="1"/>
          </p:cNvCxnSpPr>
          <p:nvPr/>
        </p:nvCxnSpPr>
        <p:spPr>
          <a:xfrm flipV="1">
            <a:off x="7447221" y="5912290"/>
            <a:ext cx="1387218" cy="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F7DF11-9069-C64D-013A-1846543F8008}"/>
              </a:ext>
            </a:extLst>
          </p:cNvPr>
          <p:cNvSpPr/>
          <p:nvPr/>
        </p:nvSpPr>
        <p:spPr>
          <a:xfrm>
            <a:off x="4458854" y="85457"/>
            <a:ext cx="3274293" cy="592428"/>
          </a:xfrm>
          <a:prstGeom prst="roundRect">
            <a:avLst/>
          </a:prstGeom>
          <a:solidFill>
            <a:srgbClr val="00B050"/>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Automatic Outputs</a:t>
            </a:r>
          </a:p>
        </p:txBody>
      </p:sp>
      <p:sp>
        <p:nvSpPr>
          <p:cNvPr id="46" name="Rectangle: Rounded Corners 45">
            <a:extLst>
              <a:ext uri="{FF2B5EF4-FFF2-40B4-BE49-F238E27FC236}">
                <a16:creationId xmlns:a16="http://schemas.microsoft.com/office/drawing/2014/main" id="{A05C021E-B0F8-0297-3FEB-3711EC5B6281}"/>
              </a:ext>
            </a:extLst>
          </p:cNvPr>
          <p:cNvSpPr/>
          <p:nvPr/>
        </p:nvSpPr>
        <p:spPr>
          <a:xfrm>
            <a:off x="362557" y="85457"/>
            <a:ext cx="3274292" cy="592428"/>
          </a:xfrm>
          <a:prstGeom prst="roundRect">
            <a:avLst/>
          </a:prstGeom>
          <a:solidFill>
            <a:srgbClr val="00B050"/>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One Editor</a:t>
            </a:r>
          </a:p>
        </p:txBody>
      </p:sp>
      <p:sp>
        <p:nvSpPr>
          <p:cNvPr id="48" name="Rectangle: Rounded Corners 47">
            <a:extLst>
              <a:ext uri="{FF2B5EF4-FFF2-40B4-BE49-F238E27FC236}">
                <a16:creationId xmlns:a16="http://schemas.microsoft.com/office/drawing/2014/main" id="{41A8EE56-B31A-7B0E-2564-8E2DD07E16D0}"/>
              </a:ext>
            </a:extLst>
          </p:cNvPr>
          <p:cNvSpPr/>
          <p:nvPr/>
        </p:nvSpPr>
        <p:spPr>
          <a:xfrm>
            <a:off x="8555136" y="85457"/>
            <a:ext cx="3274293" cy="592428"/>
          </a:xfrm>
          <a:prstGeom prst="roundRect">
            <a:avLst/>
          </a:prstGeom>
          <a:solidFill>
            <a:srgbClr val="00B050"/>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Easy Sharing</a:t>
            </a:r>
          </a:p>
        </p:txBody>
      </p:sp>
      <p:pic>
        <p:nvPicPr>
          <p:cNvPr id="54" name="Picture 2" descr="Designing and Delivering PowerPoint Presentations - Center for Teaching  Excellence | University of South Carolina">
            <a:extLst>
              <a:ext uri="{FF2B5EF4-FFF2-40B4-BE49-F238E27FC236}">
                <a16:creationId xmlns:a16="http://schemas.microsoft.com/office/drawing/2014/main" id="{F9853FB4-8446-1328-7C74-911B997B26A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4537" y="2291601"/>
            <a:ext cx="2296685" cy="97435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B1DC3509-95DC-E9FD-CAAD-D46C40AFF6FA}"/>
              </a:ext>
            </a:extLst>
          </p:cNvPr>
          <p:cNvSpPr/>
          <p:nvPr/>
        </p:nvSpPr>
        <p:spPr>
          <a:xfrm>
            <a:off x="10209803" y="2366419"/>
            <a:ext cx="1266964" cy="3791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2">
            <a:extLst>
              <a:ext uri="{FF2B5EF4-FFF2-40B4-BE49-F238E27FC236}">
                <a16:creationId xmlns:a16="http://schemas.microsoft.com/office/drawing/2014/main" id="{37A1F396-35BF-807A-4E1B-25F2E92465C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32486" y="2416905"/>
            <a:ext cx="1221597" cy="2782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a:extLst>
              <a:ext uri="{FF2B5EF4-FFF2-40B4-BE49-F238E27FC236}">
                <a16:creationId xmlns:a16="http://schemas.microsoft.com/office/drawing/2014/main" id="{D719EA70-3687-69F8-8848-FC5A7E4AA9A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5304" t="11771" r="5304" b="12165"/>
          <a:stretch/>
        </p:blipFill>
        <p:spPr bwMode="auto">
          <a:xfrm>
            <a:off x="10618152" y="4316545"/>
            <a:ext cx="858615" cy="283960"/>
          </a:xfrm>
          <a:prstGeom prst="rect">
            <a:avLst/>
          </a:prstGeom>
          <a:noFill/>
          <a:extLst>
            <a:ext uri="{909E8E84-426E-40DD-AFC4-6F175D3DCCD1}">
              <a14:hiddenFill xmlns:a14="http://schemas.microsoft.com/office/drawing/2010/main">
                <a:solidFill>
                  <a:srgbClr val="FFFFFF"/>
                </a:solidFill>
              </a14:hiddenFill>
            </a:ext>
          </a:extLst>
        </p:spPr>
      </p:pic>
      <p:pic>
        <p:nvPicPr>
          <p:cNvPr id="36" name="Slide7">
            <a:hlinkClick r:id="" action="ppaction://media"/>
            <a:extLst>
              <a:ext uri="{FF2B5EF4-FFF2-40B4-BE49-F238E27FC236}">
                <a16:creationId xmlns:a16="http://schemas.microsoft.com/office/drawing/2014/main" id="{BE01BFE0-EE76-5554-FF3A-B8BEFCBEE7B0}"/>
              </a:ext>
            </a:extLst>
          </p:cNvPr>
          <p:cNvPicPr>
            <a:picLocks noChangeAspect="1"/>
          </p:cNvPicPr>
          <p:nvPr>
            <a:audioFile r:link="rId3"/>
            <p:extLst>
              <p:ext uri="{DAA4B4D4-6D71-4841-9C94-3DE7FCFB9230}">
                <p14:media xmlns:p14="http://schemas.microsoft.com/office/powerpoint/2010/main" r:embed="rId2"/>
              </p:ext>
            </p:extLst>
          </p:nvPr>
        </p:nvPicPr>
        <p:blipFill>
          <a:blip r:embed="rId12"/>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12579817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23783">
        <p159:morph option="byObject"/>
      </p:transition>
    </mc:Choice>
    <mc:Fallback>
      <p:transition spd="slow" advTm="2378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36"/>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36"/>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nodeType="with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0" fill="hold" display="0">
                  <p:stCondLst>
                    <p:cond delay="indefinite"/>
                  </p:stCondLst>
                  <p:endCondLst>
                    <p:cond evt="onStopAudio" delay="0">
                      <p:tgtEl>
                        <p:sldTgt/>
                      </p:tgtEl>
                    </p:cond>
                  </p:endCondLst>
                </p:cTn>
                <p:tgtEl>
                  <p:spTgt spid="36"/>
                </p:tgtEl>
              </p:cMediaNode>
            </p:audio>
          </p:childTnLst>
        </p:cTn>
      </p:par>
    </p:tnLst>
    <p:bldLst>
      <p:bldP spid="6" grpId="0" animBg="1" autoUpdateAnimBg="0"/>
      <p:bldP spid="14" grpId="0" animBg="1" autoUpdateAnimBg="0"/>
      <p:bldP spid="15" grpId="0" animBg="1" autoUpdateAnimBg="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4D3B7F12-4F8B-68B8-B250-E5EF1A5703C9}"/>
              </a:ext>
            </a:extLst>
          </p:cNvPr>
          <p:cNvSpPr/>
          <p:nvPr/>
        </p:nvSpPr>
        <p:spPr>
          <a:xfrm>
            <a:off x="8551566" y="743039"/>
            <a:ext cx="3274292" cy="5793567"/>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652D06D5-C22F-70C8-F420-328171DE0607}"/>
              </a:ext>
            </a:extLst>
          </p:cNvPr>
          <p:cNvSpPr/>
          <p:nvPr/>
        </p:nvSpPr>
        <p:spPr>
          <a:xfrm>
            <a:off x="4457062" y="743040"/>
            <a:ext cx="3274292" cy="5793568"/>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3906ED3F-F27C-A111-5059-26EA44ADD0E3}"/>
              </a:ext>
            </a:extLst>
          </p:cNvPr>
          <p:cNvSpPr/>
          <p:nvPr/>
        </p:nvSpPr>
        <p:spPr>
          <a:xfrm>
            <a:off x="362557" y="744111"/>
            <a:ext cx="3274292" cy="5793573"/>
          </a:xfrm>
          <a:prstGeom prst="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ectionNameTextPlaceholder">
            <a:extLst>
              <a:ext uri="{FF2B5EF4-FFF2-40B4-BE49-F238E27FC236}">
                <a16:creationId xmlns:a16="http://schemas.microsoft.com/office/drawing/2014/main" id="{0C7AE72B-6AB6-3EFC-5F9E-86CAF07E2FA7}"/>
              </a:ext>
            </a:extLst>
          </p:cNvPr>
          <p:cNvSpPr>
            <a:spLocks noGrp="1"/>
          </p:cNvSpPr>
          <p:nvPr>
            <p:ph type="body" idx="1"/>
          </p:nvPr>
        </p:nvSpPr>
        <p:spPr/>
        <p:txBody>
          <a:bodyPr/>
          <a:lstStyle/>
          <a:p>
            <a:r>
              <a:rPr lang="en-US" dirty="0"/>
              <a:t>Text-to-Speech with Nancy - a Female Voice</a:t>
            </a:r>
          </a:p>
        </p:txBody>
      </p:sp>
      <p:sp>
        <p:nvSpPr>
          <p:cNvPr id="4" name="Title 3" hidden="1">
            <a:extLst>
              <a:ext uri="{FF2B5EF4-FFF2-40B4-BE49-F238E27FC236}">
                <a16:creationId xmlns:a16="http://schemas.microsoft.com/office/drawing/2014/main" id="{F9D699A0-C6AA-33D2-1B78-978C1CBF88A3}"/>
              </a:ext>
            </a:extLst>
          </p:cNvPr>
          <p:cNvSpPr>
            <a:spLocks noGrp="1"/>
          </p:cNvSpPr>
          <p:nvPr>
            <p:ph type="title"/>
          </p:nvPr>
        </p:nvSpPr>
        <p:spPr/>
        <p:txBody>
          <a:bodyPr/>
          <a:lstStyle/>
          <a:p>
            <a:r>
              <a:rPr lang="en-US" dirty="0"/>
              <a:t>A Solution</a:t>
            </a:r>
          </a:p>
        </p:txBody>
      </p:sp>
      <p:sp>
        <p:nvSpPr>
          <p:cNvPr id="7" name="Text Placeholder 6">
            <a:extLst>
              <a:ext uri="{FF2B5EF4-FFF2-40B4-BE49-F238E27FC236}">
                <a16:creationId xmlns:a16="http://schemas.microsoft.com/office/drawing/2014/main" id="{A6C57BC0-ECCB-A695-BDD1-E5476A537B4D}"/>
              </a:ext>
            </a:extLst>
          </p:cNvPr>
          <p:cNvSpPr>
            <a:spLocks noGrp="1"/>
          </p:cNvSpPr>
          <p:nvPr>
            <p:ph type="body" sz="quarter" idx="3"/>
          </p:nvPr>
        </p:nvSpPr>
        <p:spPr/>
        <p:txBody>
          <a:bodyPr/>
          <a:lstStyle/>
          <a:p>
            <a:endParaRPr lang="en-US" dirty="0"/>
          </a:p>
        </p:txBody>
      </p:sp>
      <p:sp>
        <p:nvSpPr>
          <p:cNvPr id="13" name="Rectangle: Rounded Corners 12">
            <a:extLst>
              <a:ext uri="{FF2B5EF4-FFF2-40B4-BE49-F238E27FC236}">
                <a16:creationId xmlns:a16="http://schemas.microsoft.com/office/drawing/2014/main" id="{3DD71CFE-F254-8FBF-2E37-63A9CEF8D329}"/>
              </a:ext>
            </a:extLst>
          </p:cNvPr>
          <p:cNvSpPr/>
          <p:nvPr/>
        </p:nvSpPr>
        <p:spPr>
          <a:xfrm>
            <a:off x="8555136" y="800092"/>
            <a:ext cx="3274293"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Publish</a:t>
            </a:r>
          </a:p>
        </p:txBody>
      </p:sp>
      <p:sp>
        <p:nvSpPr>
          <p:cNvPr id="16" name="Rectangle: Rounded Corners 15">
            <a:extLst>
              <a:ext uri="{FF2B5EF4-FFF2-40B4-BE49-F238E27FC236}">
                <a16:creationId xmlns:a16="http://schemas.microsoft.com/office/drawing/2014/main" id="{3A1731E7-2DB6-5BA1-2AD5-DAE30EBD705B}"/>
              </a:ext>
            </a:extLst>
          </p:cNvPr>
          <p:cNvSpPr/>
          <p:nvPr/>
        </p:nvSpPr>
        <p:spPr>
          <a:xfrm>
            <a:off x="646690" y="1493836"/>
            <a:ext cx="2706026" cy="14484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a:t>
            </a:r>
          </a:p>
        </p:txBody>
      </p:sp>
      <p:sp>
        <p:nvSpPr>
          <p:cNvPr id="27" name="Rectangle: Rounded Corners 26">
            <a:extLst>
              <a:ext uri="{FF2B5EF4-FFF2-40B4-BE49-F238E27FC236}">
                <a16:creationId xmlns:a16="http://schemas.microsoft.com/office/drawing/2014/main" id="{4820B031-7C3B-589D-5DC0-6F866DFF436C}"/>
              </a:ext>
            </a:extLst>
          </p:cNvPr>
          <p:cNvSpPr/>
          <p:nvPr/>
        </p:nvSpPr>
        <p:spPr>
          <a:xfrm>
            <a:off x="362558" y="800092"/>
            <a:ext cx="3274292"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Create</a:t>
            </a:r>
          </a:p>
        </p:txBody>
      </p:sp>
      <p:sp>
        <p:nvSpPr>
          <p:cNvPr id="28" name="Rectangle: Rounded Corners 27">
            <a:extLst>
              <a:ext uri="{FF2B5EF4-FFF2-40B4-BE49-F238E27FC236}">
                <a16:creationId xmlns:a16="http://schemas.microsoft.com/office/drawing/2014/main" id="{FAA183A3-4F4C-55E7-99D2-5F17AAE0C9C9}"/>
              </a:ext>
            </a:extLst>
          </p:cNvPr>
          <p:cNvSpPr/>
          <p:nvPr/>
        </p:nvSpPr>
        <p:spPr>
          <a:xfrm>
            <a:off x="4458854" y="800092"/>
            <a:ext cx="3274293" cy="592428"/>
          </a:xfrm>
          <a:prstGeom prst="roundRect">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dirty="0"/>
              <a:t>Convert</a:t>
            </a:r>
          </a:p>
        </p:txBody>
      </p:sp>
      <p:cxnSp>
        <p:nvCxnSpPr>
          <p:cNvPr id="30" name="Straight Arrow Connector 29">
            <a:extLst>
              <a:ext uri="{FF2B5EF4-FFF2-40B4-BE49-F238E27FC236}">
                <a16:creationId xmlns:a16="http://schemas.microsoft.com/office/drawing/2014/main" id="{118ACC7C-710A-538F-B1CB-D365F57CFF03}"/>
              </a:ext>
            </a:extLst>
          </p:cNvPr>
          <p:cNvCxnSpPr>
            <a:cxnSpLocks/>
            <a:stCxn id="27" idx="3"/>
            <a:endCxn id="28" idx="1"/>
          </p:cNvCxnSpPr>
          <p:nvPr/>
        </p:nvCxnSpPr>
        <p:spPr>
          <a:xfrm>
            <a:off x="3636850" y="1096306"/>
            <a:ext cx="822004"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BAF6FCF-809C-D462-511A-50653E67C5F6}"/>
              </a:ext>
            </a:extLst>
          </p:cNvPr>
          <p:cNvCxnSpPr>
            <a:cxnSpLocks/>
            <a:stCxn id="28" idx="3"/>
            <a:endCxn id="13" idx="1"/>
          </p:cNvCxnSpPr>
          <p:nvPr/>
        </p:nvCxnSpPr>
        <p:spPr>
          <a:xfrm>
            <a:off x="7733147" y="1096306"/>
            <a:ext cx="821989"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5655D3BA-3A9C-F57B-F498-B40878D4D802}"/>
              </a:ext>
            </a:extLst>
          </p:cNvPr>
          <p:cNvSpPr/>
          <p:nvPr/>
        </p:nvSpPr>
        <p:spPr>
          <a:xfrm>
            <a:off x="4746039" y="3169230"/>
            <a:ext cx="2706027" cy="32429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t>Multimodal Web Page</a:t>
            </a:r>
          </a:p>
        </p:txBody>
      </p:sp>
      <p:sp>
        <p:nvSpPr>
          <p:cNvPr id="14" name="Rectangle: Rounded Corners 13">
            <a:extLst>
              <a:ext uri="{FF2B5EF4-FFF2-40B4-BE49-F238E27FC236}">
                <a16:creationId xmlns:a16="http://schemas.microsoft.com/office/drawing/2014/main" id="{A33C2DBF-AF24-2CBF-98C7-DE0904D2F727}"/>
              </a:ext>
            </a:extLst>
          </p:cNvPr>
          <p:cNvSpPr/>
          <p:nvPr/>
        </p:nvSpPr>
        <p:spPr>
          <a:xfrm>
            <a:off x="646689" y="3176450"/>
            <a:ext cx="2706027" cy="323573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t>Practical AI Assistance</a:t>
            </a:r>
          </a:p>
        </p:txBody>
      </p:sp>
      <p:sp>
        <p:nvSpPr>
          <p:cNvPr id="15" name="Rectangle: Rounded Corners 14">
            <a:extLst>
              <a:ext uri="{FF2B5EF4-FFF2-40B4-BE49-F238E27FC236}">
                <a16:creationId xmlns:a16="http://schemas.microsoft.com/office/drawing/2014/main" id="{DF298036-8902-EBEF-B744-7F1217CE232F}"/>
              </a:ext>
            </a:extLst>
          </p:cNvPr>
          <p:cNvSpPr/>
          <p:nvPr/>
        </p:nvSpPr>
        <p:spPr>
          <a:xfrm>
            <a:off x="8839284" y="3169230"/>
            <a:ext cx="2706027" cy="32429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t>Multimodal Website</a:t>
            </a:r>
          </a:p>
        </p:txBody>
      </p:sp>
      <p:pic>
        <p:nvPicPr>
          <p:cNvPr id="18" name="Content Placeholder 17" descr="A close up of a sign&#10;&#10;Description automatically generated">
            <a:extLst>
              <a:ext uri="{FF2B5EF4-FFF2-40B4-BE49-F238E27FC236}">
                <a16:creationId xmlns:a16="http://schemas.microsoft.com/office/drawing/2014/main" id="{89141B30-894A-EE65-A0D5-761FB5094AA9}"/>
              </a:ext>
            </a:extLst>
          </p:cNvPr>
          <p:cNvPicPr>
            <a:picLocks noGrp="1" noChangeAspect="1"/>
          </p:cNvPicPr>
          <p:nvPr>
            <p:ph sz="half" idx="2"/>
          </p:nvPr>
        </p:nvPicPr>
        <p:blipFill>
          <a:blip r:embed="rId6"/>
          <a:stretch>
            <a:fillRect/>
          </a:stretch>
        </p:blipFill>
        <p:spPr>
          <a:xfrm>
            <a:off x="5838626" y="3683302"/>
            <a:ext cx="1613440" cy="715964"/>
          </a:xfrm>
        </p:spPr>
      </p:pic>
      <p:pic>
        <p:nvPicPr>
          <p:cNvPr id="29" name="Content Placeholder 17" descr="A close up of a sign&#10;&#10;Description automatically generated">
            <a:extLst>
              <a:ext uri="{FF2B5EF4-FFF2-40B4-BE49-F238E27FC236}">
                <a16:creationId xmlns:a16="http://schemas.microsoft.com/office/drawing/2014/main" id="{0FBDDA9A-DA7B-2F51-B0E0-B167685DCACD}"/>
              </a:ext>
            </a:extLst>
          </p:cNvPr>
          <p:cNvPicPr>
            <a:picLocks noChangeAspect="1"/>
          </p:cNvPicPr>
          <p:nvPr/>
        </p:nvPicPr>
        <p:blipFill>
          <a:blip r:embed="rId6"/>
          <a:stretch>
            <a:fillRect/>
          </a:stretch>
        </p:blipFill>
        <p:spPr>
          <a:xfrm>
            <a:off x="1708501" y="3683302"/>
            <a:ext cx="1613440" cy="715964"/>
          </a:xfrm>
          <a:prstGeom prst="rect">
            <a:avLst/>
          </a:prstGeom>
        </p:spPr>
      </p:pic>
      <p:pic>
        <p:nvPicPr>
          <p:cNvPr id="32" name="Content Placeholder 17" descr="A close up of a sign&#10;&#10;Description automatically generated">
            <a:extLst>
              <a:ext uri="{FF2B5EF4-FFF2-40B4-BE49-F238E27FC236}">
                <a16:creationId xmlns:a16="http://schemas.microsoft.com/office/drawing/2014/main" id="{44E9BC89-EA0D-D192-4C44-2A5F1886D360}"/>
              </a:ext>
            </a:extLst>
          </p:cNvPr>
          <p:cNvPicPr>
            <a:picLocks noChangeAspect="1"/>
          </p:cNvPicPr>
          <p:nvPr/>
        </p:nvPicPr>
        <p:blipFill>
          <a:blip r:embed="rId6"/>
          <a:stretch>
            <a:fillRect/>
          </a:stretch>
        </p:blipFill>
        <p:spPr>
          <a:xfrm>
            <a:off x="9931871" y="3669197"/>
            <a:ext cx="1613440" cy="715964"/>
          </a:xfrm>
          <a:prstGeom prst="rect">
            <a:avLst/>
          </a:prstGeom>
        </p:spPr>
      </p:pic>
      <p:cxnSp>
        <p:nvCxnSpPr>
          <p:cNvPr id="33" name="Straight Arrow Connector 32">
            <a:extLst>
              <a:ext uri="{FF2B5EF4-FFF2-40B4-BE49-F238E27FC236}">
                <a16:creationId xmlns:a16="http://schemas.microsoft.com/office/drawing/2014/main" id="{A1F5B768-F218-4A80-FD24-C3FAB26713F6}"/>
              </a:ext>
            </a:extLst>
          </p:cNvPr>
          <p:cNvCxnSpPr>
            <a:cxnSpLocks/>
            <a:stCxn id="16" idx="3"/>
            <a:endCxn id="64" idx="1"/>
          </p:cNvCxnSpPr>
          <p:nvPr/>
        </p:nvCxnSpPr>
        <p:spPr>
          <a:xfrm>
            <a:off x="3352716" y="2218045"/>
            <a:ext cx="139332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869FF904-0895-1E48-6D27-95DAC6125EA3}"/>
              </a:ext>
            </a:extLst>
          </p:cNvPr>
          <p:cNvCxnSpPr>
            <a:cxnSpLocks/>
            <a:stCxn id="64" idx="3"/>
            <a:endCxn id="70" idx="1"/>
          </p:cNvCxnSpPr>
          <p:nvPr/>
        </p:nvCxnSpPr>
        <p:spPr>
          <a:xfrm flipV="1">
            <a:off x="7452066" y="2218043"/>
            <a:ext cx="1387217" cy="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F7DF11-9069-C64D-013A-1846543F8008}"/>
              </a:ext>
            </a:extLst>
          </p:cNvPr>
          <p:cNvSpPr/>
          <p:nvPr/>
        </p:nvSpPr>
        <p:spPr>
          <a:xfrm>
            <a:off x="4458854" y="85457"/>
            <a:ext cx="3274293" cy="592428"/>
          </a:xfrm>
          <a:prstGeom prst="roundRect">
            <a:avLst/>
          </a:prstGeom>
          <a:solidFill>
            <a:srgbClr val="00B050"/>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Automatic Outputs</a:t>
            </a:r>
          </a:p>
        </p:txBody>
      </p:sp>
      <p:sp>
        <p:nvSpPr>
          <p:cNvPr id="46" name="Rectangle: Rounded Corners 45">
            <a:extLst>
              <a:ext uri="{FF2B5EF4-FFF2-40B4-BE49-F238E27FC236}">
                <a16:creationId xmlns:a16="http://schemas.microsoft.com/office/drawing/2014/main" id="{A05C021E-B0F8-0297-3FEB-3711EC5B6281}"/>
              </a:ext>
            </a:extLst>
          </p:cNvPr>
          <p:cNvSpPr/>
          <p:nvPr/>
        </p:nvSpPr>
        <p:spPr>
          <a:xfrm>
            <a:off x="362557" y="85457"/>
            <a:ext cx="3274292" cy="592428"/>
          </a:xfrm>
          <a:prstGeom prst="roundRect">
            <a:avLst/>
          </a:prstGeom>
          <a:solidFill>
            <a:srgbClr val="00B050"/>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One Editor</a:t>
            </a:r>
          </a:p>
        </p:txBody>
      </p:sp>
      <p:sp>
        <p:nvSpPr>
          <p:cNvPr id="48" name="Rectangle: Rounded Corners 47">
            <a:extLst>
              <a:ext uri="{FF2B5EF4-FFF2-40B4-BE49-F238E27FC236}">
                <a16:creationId xmlns:a16="http://schemas.microsoft.com/office/drawing/2014/main" id="{41A8EE56-B31A-7B0E-2564-8E2DD07E16D0}"/>
              </a:ext>
            </a:extLst>
          </p:cNvPr>
          <p:cNvSpPr/>
          <p:nvPr/>
        </p:nvSpPr>
        <p:spPr>
          <a:xfrm>
            <a:off x="8555136" y="85457"/>
            <a:ext cx="3274293" cy="592428"/>
          </a:xfrm>
          <a:prstGeom prst="roundRect">
            <a:avLst/>
          </a:prstGeom>
          <a:solidFill>
            <a:srgbClr val="00B050"/>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Easy Sharing</a:t>
            </a:r>
          </a:p>
        </p:txBody>
      </p:sp>
      <p:sp>
        <p:nvSpPr>
          <p:cNvPr id="64" name="Rectangle: Rounded Corners 63">
            <a:extLst>
              <a:ext uri="{FF2B5EF4-FFF2-40B4-BE49-F238E27FC236}">
                <a16:creationId xmlns:a16="http://schemas.microsoft.com/office/drawing/2014/main" id="{A38A1027-4CFB-F062-0A31-66DBD671F84B}"/>
              </a:ext>
            </a:extLst>
          </p:cNvPr>
          <p:cNvSpPr/>
          <p:nvPr/>
        </p:nvSpPr>
        <p:spPr>
          <a:xfrm>
            <a:off x="4746040" y="1493836"/>
            <a:ext cx="2706026" cy="14484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b="1" dirty="0"/>
              <a:t>?</a:t>
            </a:r>
          </a:p>
        </p:txBody>
      </p:sp>
      <p:pic>
        <p:nvPicPr>
          <p:cNvPr id="1026" name="Picture 2a" descr="GitHub - hakimel/reveal.js: The HTML Presentation Framework">
            <a:hlinkClick r:id="rId7"/>
            <a:extLst>
              <a:ext uri="{FF2B5EF4-FFF2-40B4-BE49-F238E27FC236}">
                <a16:creationId xmlns:a16="http://schemas.microsoft.com/office/drawing/2014/main" id="{D8A17D34-F809-1F7A-D092-E373C2FE8E8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025" t="13232" r="11213" b="15581"/>
          <a:stretch/>
        </p:blipFill>
        <p:spPr bwMode="auto">
          <a:xfrm>
            <a:off x="4988768" y="1671856"/>
            <a:ext cx="2214464" cy="1092375"/>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Rounded Corners 69">
            <a:extLst>
              <a:ext uri="{FF2B5EF4-FFF2-40B4-BE49-F238E27FC236}">
                <a16:creationId xmlns:a16="http://schemas.microsoft.com/office/drawing/2014/main" id="{BB8AC8EB-B8DD-6EC9-5AB9-8D107005F404}"/>
              </a:ext>
            </a:extLst>
          </p:cNvPr>
          <p:cNvSpPr/>
          <p:nvPr/>
        </p:nvSpPr>
        <p:spPr>
          <a:xfrm>
            <a:off x="8839283" y="1493834"/>
            <a:ext cx="2706027" cy="14484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b="1" dirty="0"/>
              <a:t>?</a:t>
            </a:r>
          </a:p>
        </p:txBody>
      </p:sp>
      <p:pic>
        <p:nvPicPr>
          <p:cNvPr id="1028" name="Picture 4" descr="GIT HUB PAGES: PROCEDURE TO CREATE PAGES ON GITHUB">
            <a:hlinkClick r:id="rId9"/>
            <a:extLst>
              <a:ext uri="{FF2B5EF4-FFF2-40B4-BE49-F238E27FC236}">
                <a16:creationId xmlns:a16="http://schemas.microsoft.com/office/drawing/2014/main" id="{63AFA7F8-6E23-6489-1BA8-76CD10D6B80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7988" t="18881" r="29690" b="23508"/>
          <a:stretch/>
        </p:blipFill>
        <p:spPr bwMode="auto">
          <a:xfrm>
            <a:off x="9364821" y="1663710"/>
            <a:ext cx="1654951" cy="1126390"/>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Rounded Corners 72">
            <a:extLst>
              <a:ext uri="{FF2B5EF4-FFF2-40B4-BE49-F238E27FC236}">
                <a16:creationId xmlns:a16="http://schemas.microsoft.com/office/drawing/2014/main" id="{4FA6709C-EE0C-63F7-BFF4-A48C885639B9}"/>
              </a:ext>
            </a:extLst>
          </p:cNvPr>
          <p:cNvSpPr/>
          <p:nvPr/>
        </p:nvSpPr>
        <p:spPr>
          <a:xfrm>
            <a:off x="683964" y="4308856"/>
            <a:ext cx="2631476" cy="1847461"/>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t>Convert Slide “Notes” to Narration Audio Clips by using</a:t>
            </a:r>
          </a:p>
          <a:p>
            <a:r>
              <a:rPr lang="en-US" sz="2000" dirty="0"/>
              <a:t>Text-To-Speech APIs</a:t>
            </a:r>
          </a:p>
        </p:txBody>
      </p:sp>
      <p:sp>
        <p:nvSpPr>
          <p:cNvPr id="75" name="Rectangle: Rounded Corners 74">
            <a:extLst>
              <a:ext uri="{FF2B5EF4-FFF2-40B4-BE49-F238E27FC236}">
                <a16:creationId xmlns:a16="http://schemas.microsoft.com/office/drawing/2014/main" id="{3431ADEA-CEA0-2D58-1C4F-9F6CC36D843D}"/>
              </a:ext>
            </a:extLst>
          </p:cNvPr>
          <p:cNvSpPr/>
          <p:nvPr/>
        </p:nvSpPr>
        <p:spPr>
          <a:xfrm>
            <a:off x="4780262" y="4308855"/>
            <a:ext cx="2631476" cy="1847461"/>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dirty="0"/>
              <a:t>Slides as SVG images.</a:t>
            </a:r>
          </a:p>
          <a:p>
            <a:r>
              <a:rPr lang="en-US" dirty="0"/>
              <a:t>Narrations as .mp3 files.</a:t>
            </a:r>
          </a:p>
          <a:p>
            <a:r>
              <a:rPr lang="en-US" dirty="0"/>
              <a:t>Create HTML using the reveal.js standard.</a:t>
            </a:r>
          </a:p>
        </p:txBody>
      </p:sp>
      <p:sp>
        <p:nvSpPr>
          <p:cNvPr id="76" name="Rectangle: Rounded Corners 75">
            <a:extLst>
              <a:ext uri="{FF2B5EF4-FFF2-40B4-BE49-F238E27FC236}">
                <a16:creationId xmlns:a16="http://schemas.microsoft.com/office/drawing/2014/main" id="{B69019FD-E261-7E75-CDEA-B087D8D1CA5E}"/>
              </a:ext>
            </a:extLst>
          </p:cNvPr>
          <p:cNvSpPr/>
          <p:nvPr/>
        </p:nvSpPr>
        <p:spPr>
          <a:xfrm>
            <a:off x="8876560" y="4308854"/>
            <a:ext cx="2631476" cy="1847461"/>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a:t>Copy all content to User’s GitHub repository.</a:t>
            </a:r>
          </a:p>
          <a:p>
            <a:r>
              <a:rPr lang="en-US" sz="1600" dirty="0"/>
              <a:t>User can use GitHub Pages to Host site for free.</a:t>
            </a:r>
          </a:p>
          <a:p>
            <a:r>
              <a:rPr lang="en-US" sz="1600" dirty="0"/>
              <a:t>User owns and controls all converted content.</a:t>
            </a:r>
          </a:p>
        </p:txBody>
      </p:sp>
      <p:pic>
        <p:nvPicPr>
          <p:cNvPr id="77" name="Picture 2" descr="Designing and Delivering PowerPoint Presentations - Center for Teaching  Excellence | University of South Carolina">
            <a:extLst>
              <a:ext uri="{FF2B5EF4-FFF2-40B4-BE49-F238E27FC236}">
                <a16:creationId xmlns:a16="http://schemas.microsoft.com/office/drawing/2014/main" id="{08CB6182-B2B8-3C70-E26C-446A254F670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2109" y="1674138"/>
            <a:ext cx="2483570" cy="1053637"/>
          </a:xfrm>
          <a:prstGeom prst="rect">
            <a:avLst/>
          </a:prstGeom>
          <a:noFill/>
          <a:extLst>
            <a:ext uri="{909E8E84-426E-40DD-AFC4-6F175D3DCCD1}">
              <a14:hiddenFill xmlns:a14="http://schemas.microsoft.com/office/drawing/2010/main">
                <a:solidFill>
                  <a:srgbClr val="FFFFFF"/>
                </a:solidFill>
              </a14:hiddenFill>
            </a:ext>
          </a:extLst>
        </p:spPr>
      </p:pic>
      <p:pic>
        <p:nvPicPr>
          <p:cNvPr id="9" name="Slide8">
            <a:hlinkClick r:id="" action="ppaction://media"/>
            <a:extLst>
              <a:ext uri="{FF2B5EF4-FFF2-40B4-BE49-F238E27FC236}">
                <a16:creationId xmlns:a16="http://schemas.microsoft.com/office/drawing/2014/main" id="{583FAFB8-7D16-2265-2266-9F81BA3F7B35}"/>
              </a:ext>
            </a:extLst>
          </p:cNvPr>
          <p:cNvPicPr>
            <a:picLocks noChangeAspect="1"/>
          </p:cNvPicPr>
          <p:nvPr>
            <a:audioFile r:link="rId3"/>
            <p:extLst>
              <p:ext uri="{DAA4B4D4-6D71-4841-9C94-3DE7FCFB9230}">
                <p14:media xmlns:p14="http://schemas.microsoft.com/office/powerpoint/2010/main" r:embed="rId2"/>
              </p:ext>
            </p:extLst>
          </p:nvPr>
        </p:nvPicPr>
        <p:blipFill>
          <a:blip r:embed="rId12"/>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331561660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56183">
        <p159:morph option="byObject"/>
      </p:transition>
    </mc:Choice>
    <mc:Fallback>
      <p:transition spd="slow" advTm="5618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9"/>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77"/>
                                        </p:tgtEl>
                                        <p:attrNameLst>
                                          <p:attrName>style.visibility</p:attrName>
                                        </p:attrNameLst>
                                      </p:cBhvr>
                                      <p:to>
                                        <p:strVal val="visible"/>
                                      </p:to>
                                    </p:set>
                                    <p:animEffect transition="in" filter="fade">
                                      <p:cBhvr>
                                        <p:cTn id="14" dur="500"/>
                                        <p:tgtEl>
                                          <p:spTgt spid="7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fade">
                                      <p:cBhvr>
                                        <p:cTn id="17" dur="500"/>
                                        <p:tgtEl>
                                          <p:spTgt spid="7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26"/>
                                        </p:tgtEl>
                                        <p:attrNameLst>
                                          <p:attrName>style.visibility</p:attrName>
                                        </p:attrNameLst>
                                      </p:cBhvr>
                                      <p:to>
                                        <p:strVal val="visible"/>
                                      </p:to>
                                    </p:set>
                                    <p:animEffect transition="in" filter="fade">
                                      <p:cBhvr>
                                        <p:cTn id="22" dur="500"/>
                                        <p:tgtEl>
                                          <p:spTgt spid="102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28"/>
                                        </p:tgtEl>
                                        <p:attrNameLst>
                                          <p:attrName>style.visibility</p:attrName>
                                        </p:attrNameLst>
                                      </p:cBhvr>
                                      <p:to>
                                        <p:strVal val="visible"/>
                                      </p:to>
                                    </p:set>
                                    <p:animEffect transition="in" filter="fade">
                                      <p:cBhvr>
                                        <p:cTn id="30" dur="500"/>
                                        <p:tgtEl>
                                          <p:spTgt spid="102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6"/>
                                        </p:tgtEl>
                                        <p:attrNameLst>
                                          <p:attrName>style.visibility</p:attrName>
                                        </p:attrNameLst>
                                      </p:cBhvr>
                                      <p:to>
                                        <p:strVal val="visible"/>
                                      </p:to>
                                    </p:set>
                                    <p:animEffect transition="in" filter="fade">
                                      <p:cBhvr>
                                        <p:cTn id="33"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4" fill="hold" display="0">
                  <p:stCondLst>
                    <p:cond delay="indefinite"/>
                  </p:stCondLst>
                  <p:endCondLst>
                    <p:cond evt="onStopAudio" delay="0">
                      <p:tgtEl>
                        <p:sldTgt/>
                      </p:tgtEl>
                    </p:cond>
                  </p:endCondLst>
                </p:cTn>
                <p:tgtEl>
                  <p:spTgt spid="9"/>
                </p:tgtEl>
              </p:cMediaNode>
            </p:audio>
          </p:childTnLst>
        </p:cTn>
      </p:par>
    </p:tnLst>
    <p:bldLst>
      <p:bldP spid="73" grpId="0" animBg="1" autoUpdateAnimBg="0"/>
      <p:bldP spid="75" grpId="0" animBg="1" autoUpdateAnimBg="0"/>
      <p:bldP spid="76" grpId="0" animBg="1" autoUpdateAnimBg="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tionNameTextPlaceholder">
            <a:extLst>
              <a:ext uri="{FF2B5EF4-FFF2-40B4-BE49-F238E27FC236}">
                <a16:creationId xmlns:a16="http://schemas.microsoft.com/office/drawing/2014/main" id="{2BF01355-7466-C3CF-B77D-1E563855B9B0}"/>
              </a:ext>
            </a:extLst>
          </p:cNvPr>
          <p:cNvSpPr>
            <a:spLocks noGrp="1"/>
          </p:cNvSpPr>
          <p:nvPr>
            <p:ph type="body" idx="1"/>
          </p:nvPr>
        </p:nvSpPr>
        <p:spPr>
          <a:xfrm>
            <a:off x="31536" y="6498772"/>
            <a:ext cx="6005926" cy="313241"/>
          </a:xfrm>
        </p:spPr>
        <p:txBody>
          <a:bodyPr>
            <a:normAutofit fontScale="92500"/>
          </a:bodyPr>
          <a:lstStyle/>
          <a:p>
            <a:r>
              <a:rPr lang="en-US" dirty="0"/>
              <a:t>(my voice – manually recorded using the Narration feature in PowerPoint)</a:t>
            </a:r>
          </a:p>
        </p:txBody>
      </p:sp>
      <p:sp>
        <p:nvSpPr>
          <p:cNvPr id="3" name="Title 2">
            <a:extLst>
              <a:ext uri="{FF2B5EF4-FFF2-40B4-BE49-F238E27FC236}">
                <a16:creationId xmlns:a16="http://schemas.microsoft.com/office/drawing/2014/main" id="{409D1AB0-05FA-8A43-6BB9-A9C76997191A}"/>
              </a:ext>
            </a:extLst>
          </p:cNvPr>
          <p:cNvSpPr>
            <a:spLocks noGrp="1"/>
          </p:cNvSpPr>
          <p:nvPr>
            <p:ph type="title"/>
          </p:nvPr>
        </p:nvSpPr>
        <p:spPr/>
        <p:txBody>
          <a:bodyPr/>
          <a:lstStyle/>
          <a:p>
            <a:r>
              <a:rPr lang="en-US" dirty="0"/>
              <a:t>Email me at </a:t>
            </a:r>
            <a:r>
              <a:rPr lang="en-US" dirty="0">
                <a:hlinkClick r:id="rId6"/>
              </a:rPr>
              <a:t>John@MultimodalSlides.com</a:t>
            </a:r>
            <a:r>
              <a:rPr lang="en-US" dirty="0"/>
              <a:t> to be a Beta User</a:t>
            </a:r>
          </a:p>
        </p:txBody>
      </p:sp>
      <p:sp>
        <p:nvSpPr>
          <p:cNvPr id="4" name="Text Placeholder 3">
            <a:extLst>
              <a:ext uri="{FF2B5EF4-FFF2-40B4-BE49-F238E27FC236}">
                <a16:creationId xmlns:a16="http://schemas.microsoft.com/office/drawing/2014/main" id="{CECD28B9-37BA-330B-B365-6182AC8820DB}"/>
              </a:ext>
            </a:extLst>
          </p:cNvPr>
          <p:cNvSpPr>
            <a:spLocks noGrp="1"/>
          </p:cNvSpPr>
          <p:nvPr>
            <p:ph type="body" sz="quarter" idx="3"/>
          </p:nvPr>
        </p:nvSpPr>
        <p:spPr/>
        <p:txBody>
          <a:bodyPr/>
          <a:lstStyle/>
          <a:p>
            <a:endParaRPr lang="en-US"/>
          </a:p>
        </p:txBody>
      </p:sp>
      <p:sp>
        <p:nvSpPr>
          <p:cNvPr id="10" name="Freeform: Shape 9">
            <a:extLst>
              <a:ext uri="{FF2B5EF4-FFF2-40B4-BE49-F238E27FC236}">
                <a16:creationId xmlns:a16="http://schemas.microsoft.com/office/drawing/2014/main" id="{5A395962-2999-3F1E-93F6-C3A49A327D83}"/>
              </a:ext>
            </a:extLst>
          </p:cNvPr>
          <p:cNvSpPr/>
          <p:nvPr/>
        </p:nvSpPr>
        <p:spPr>
          <a:xfrm>
            <a:off x="64653" y="755491"/>
            <a:ext cx="12053455" cy="959400"/>
          </a:xfrm>
          <a:custGeom>
            <a:avLst/>
            <a:gdLst>
              <a:gd name="connsiteX0" fmla="*/ 0 w 12053455"/>
              <a:gd name="connsiteY0" fmla="*/ 159903 h 959400"/>
              <a:gd name="connsiteX1" fmla="*/ 159903 w 12053455"/>
              <a:gd name="connsiteY1" fmla="*/ 0 h 959400"/>
              <a:gd name="connsiteX2" fmla="*/ 11893552 w 12053455"/>
              <a:gd name="connsiteY2" fmla="*/ 0 h 959400"/>
              <a:gd name="connsiteX3" fmla="*/ 12053455 w 12053455"/>
              <a:gd name="connsiteY3" fmla="*/ 159903 h 959400"/>
              <a:gd name="connsiteX4" fmla="*/ 12053455 w 12053455"/>
              <a:gd name="connsiteY4" fmla="*/ 799497 h 959400"/>
              <a:gd name="connsiteX5" fmla="*/ 11893552 w 12053455"/>
              <a:gd name="connsiteY5" fmla="*/ 959400 h 959400"/>
              <a:gd name="connsiteX6" fmla="*/ 159903 w 12053455"/>
              <a:gd name="connsiteY6" fmla="*/ 959400 h 959400"/>
              <a:gd name="connsiteX7" fmla="*/ 0 w 12053455"/>
              <a:gd name="connsiteY7" fmla="*/ 799497 h 959400"/>
              <a:gd name="connsiteX8" fmla="*/ 0 w 12053455"/>
              <a:gd name="connsiteY8" fmla="*/ 159903 h 95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959400">
                <a:moveTo>
                  <a:pt x="0" y="159903"/>
                </a:moveTo>
                <a:cubicBezTo>
                  <a:pt x="0" y="71591"/>
                  <a:pt x="71591" y="0"/>
                  <a:pt x="159903" y="0"/>
                </a:cubicBezTo>
                <a:lnTo>
                  <a:pt x="11893552" y="0"/>
                </a:lnTo>
                <a:cubicBezTo>
                  <a:pt x="11981864" y="0"/>
                  <a:pt x="12053455" y="71591"/>
                  <a:pt x="12053455" y="159903"/>
                </a:cubicBezTo>
                <a:lnTo>
                  <a:pt x="12053455" y="799497"/>
                </a:lnTo>
                <a:cubicBezTo>
                  <a:pt x="12053455" y="887809"/>
                  <a:pt x="11981864" y="959400"/>
                  <a:pt x="11893552" y="959400"/>
                </a:cubicBezTo>
                <a:lnTo>
                  <a:pt x="159903" y="959400"/>
                </a:lnTo>
                <a:cubicBezTo>
                  <a:pt x="71591" y="959400"/>
                  <a:pt x="0" y="887809"/>
                  <a:pt x="0" y="799497"/>
                </a:cubicBezTo>
                <a:lnTo>
                  <a:pt x="0" y="1599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234" tIns="199234" rIns="199234" bIns="199234" numCol="1" spcCol="1270" anchor="ctr" anchorCtr="0">
            <a:noAutofit/>
          </a:bodyPr>
          <a:lstStyle/>
          <a:p>
            <a:pPr marL="0" lvl="0" indent="0" algn="l" defTabSz="1778000">
              <a:lnSpc>
                <a:spcPct val="90000"/>
              </a:lnSpc>
              <a:spcBef>
                <a:spcPct val="0"/>
              </a:spcBef>
              <a:spcAft>
                <a:spcPct val="35000"/>
              </a:spcAft>
              <a:buNone/>
            </a:pPr>
            <a:r>
              <a:rPr lang="en-US" sz="4000" kern="1200" dirty="0"/>
              <a:t>I’m Looking for…</a:t>
            </a:r>
          </a:p>
        </p:txBody>
      </p:sp>
      <p:sp>
        <p:nvSpPr>
          <p:cNvPr id="13" name="LookingForBulletPointsText">
            <a:extLst>
              <a:ext uri="{FF2B5EF4-FFF2-40B4-BE49-F238E27FC236}">
                <a16:creationId xmlns:a16="http://schemas.microsoft.com/office/drawing/2014/main" id="{B5CAC1C1-7F6E-A7EC-3990-38348F820B52}"/>
              </a:ext>
            </a:extLst>
          </p:cNvPr>
          <p:cNvSpPr/>
          <p:nvPr/>
        </p:nvSpPr>
        <p:spPr>
          <a:xfrm>
            <a:off x="64653" y="1714891"/>
            <a:ext cx="12053455" cy="2649600"/>
          </a:xfrm>
          <a:custGeom>
            <a:avLst/>
            <a:gdLst>
              <a:gd name="connsiteX0" fmla="*/ 0 w 12053455"/>
              <a:gd name="connsiteY0" fmla="*/ 0 h 2649600"/>
              <a:gd name="connsiteX1" fmla="*/ 12053455 w 12053455"/>
              <a:gd name="connsiteY1" fmla="*/ 0 h 2649600"/>
              <a:gd name="connsiteX2" fmla="*/ 12053455 w 12053455"/>
              <a:gd name="connsiteY2" fmla="*/ 2649600 h 2649600"/>
              <a:gd name="connsiteX3" fmla="*/ 0 w 12053455"/>
              <a:gd name="connsiteY3" fmla="*/ 2649600 h 2649600"/>
              <a:gd name="connsiteX4" fmla="*/ 0 w 12053455"/>
              <a:gd name="connsiteY4" fmla="*/ 0 h 264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2649600">
                <a:moveTo>
                  <a:pt x="0" y="0"/>
                </a:moveTo>
                <a:lnTo>
                  <a:pt x="12053455" y="0"/>
                </a:lnTo>
                <a:lnTo>
                  <a:pt x="12053455" y="2649600"/>
                </a:lnTo>
                <a:lnTo>
                  <a:pt x="0" y="2649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50800" rIns="284480" bIns="50800" numCol="1" spcCol="1270" anchor="t" anchorCtr="0">
            <a:noAutofit/>
          </a:bodyPr>
          <a:lstStyle/>
          <a:p>
            <a:pPr marL="285750" lvl="1" indent="-285750" algn="l" defTabSz="1377950">
              <a:lnSpc>
                <a:spcPct val="90000"/>
              </a:lnSpc>
              <a:spcBef>
                <a:spcPct val="0"/>
              </a:spcBef>
              <a:spcAft>
                <a:spcPct val="20000"/>
              </a:spcAft>
              <a:buChar char="•"/>
            </a:pPr>
            <a:r>
              <a:rPr lang="en-US" sz="3100" kern="1200" dirty="0"/>
              <a:t>PowerPoint </a:t>
            </a:r>
            <a:r>
              <a:rPr lang="en-US" sz="3100" b="1" kern="1200" dirty="0"/>
              <a:t>Beginners</a:t>
            </a:r>
            <a:r>
              <a:rPr lang="en-US" sz="3100" kern="1200" dirty="0"/>
              <a:t> and </a:t>
            </a:r>
            <a:r>
              <a:rPr lang="en-US" sz="3100" b="1" kern="1200" dirty="0">
                <a:hlinkClick r:id="rId7"/>
              </a:rPr>
              <a:t>Power Users</a:t>
            </a:r>
            <a:endParaRPr lang="en-US" sz="3100" b="1" kern="1200" dirty="0"/>
          </a:p>
          <a:p>
            <a:pPr marL="285750" lvl="1" indent="-285750" algn="l" defTabSz="1377950">
              <a:lnSpc>
                <a:spcPct val="90000"/>
              </a:lnSpc>
              <a:spcBef>
                <a:spcPct val="0"/>
              </a:spcBef>
              <a:spcAft>
                <a:spcPct val="20000"/>
              </a:spcAft>
              <a:buChar char="•"/>
            </a:pPr>
            <a:r>
              <a:rPr lang="en-US" sz="3100" kern="1200" dirty="0"/>
              <a:t>Speakers</a:t>
            </a:r>
          </a:p>
          <a:p>
            <a:pPr marL="285750" lvl="1" indent="-285750" algn="l" defTabSz="1377950">
              <a:lnSpc>
                <a:spcPct val="90000"/>
              </a:lnSpc>
              <a:spcBef>
                <a:spcPct val="0"/>
              </a:spcBef>
              <a:spcAft>
                <a:spcPct val="20000"/>
              </a:spcAft>
              <a:buChar char="•"/>
            </a:pPr>
            <a:r>
              <a:rPr lang="en-US" sz="3100" b="1" kern="1200" dirty="0"/>
              <a:t>Trainers</a:t>
            </a:r>
            <a:r>
              <a:rPr lang="en-US" sz="3100" kern="1200" dirty="0"/>
              <a:t> and </a:t>
            </a:r>
            <a:r>
              <a:rPr lang="en-US" sz="3100" b="1" kern="1200" dirty="0"/>
              <a:t>Teachers</a:t>
            </a:r>
          </a:p>
          <a:p>
            <a:pPr marL="285750" lvl="1" indent="-285750" algn="l" defTabSz="1377950">
              <a:lnSpc>
                <a:spcPct val="90000"/>
              </a:lnSpc>
              <a:spcBef>
                <a:spcPct val="0"/>
              </a:spcBef>
              <a:spcAft>
                <a:spcPct val="20000"/>
              </a:spcAft>
              <a:buChar char="•"/>
            </a:pPr>
            <a:r>
              <a:rPr lang="en-US" sz="3100" kern="1200" dirty="0">
                <a:hlinkClick r:id="rId8"/>
              </a:rPr>
              <a:t>Documentarians</a:t>
            </a:r>
            <a:endParaRPr lang="en-US" sz="3100" kern="1200" dirty="0"/>
          </a:p>
          <a:p>
            <a:pPr marL="285750" lvl="1" indent="-285750" algn="l" defTabSz="1377950">
              <a:lnSpc>
                <a:spcPct val="90000"/>
              </a:lnSpc>
              <a:spcBef>
                <a:spcPct val="0"/>
              </a:spcBef>
              <a:spcAft>
                <a:spcPct val="20000"/>
              </a:spcAft>
              <a:buChar char="•"/>
            </a:pPr>
            <a:r>
              <a:rPr lang="en-US" sz="3100" kern="1200" dirty="0"/>
              <a:t>Bloggers</a:t>
            </a:r>
          </a:p>
        </p:txBody>
      </p:sp>
      <p:sp>
        <p:nvSpPr>
          <p:cNvPr id="14" name="Freeform: Shape 13">
            <a:extLst>
              <a:ext uri="{FF2B5EF4-FFF2-40B4-BE49-F238E27FC236}">
                <a16:creationId xmlns:a16="http://schemas.microsoft.com/office/drawing/2014/main" id="{4E010FEC-11B7-079C-458F-E79EED59F259}"/>
              </a:ext>
            </a:extLst>
          </p:cNvPr>
          <p:cNvSpPr/>
          <p:nvPr/>
        </p:nvSpPr>
        <p:spPr>
          <a:xfrm>
            <a:off x="64653" y="4364492"/>
            <a:ext cx="12053455" cy="959400"/>
          </a:xfrm>
          <a:custGeom>
            <a:avLst/>
            <a:gdLst>
              <a:gd name="connsiteX0" fmla="*/ 0 w 12053455"/>
              <a:gd name="connsiteY0" fmla="*/ 159903 h 959400"/>
              <a:gd name="connsiteX1" fmla="*/ 159903 w 12053455"/>
              <a:gd name="connsiteY1" fmla="*/ 0 h 959400"/>
              <a:gd name="connsiteX2" fmla="*/ 11893552 w 12053455"/>
              <a:gd name="connsiteY2" fmla="*/ 0 h 959400"/>
              <a:gd name="connsiteX3" fmla="*/ 12053455 w 12053455"/>
              <a:gd name="connsiteY3" fmla="*/ 159903 h 959400"/>
              <a:gd name="connsiteX4" fmla="*/ 12053455 w 12053455"/>
              <a:gd name="connsiteY4" fmla="*/ 799497 h 959400"/>
              <a:gd name="connsiteX5" fmla="*/ 11893552 w 12053455"/>
              <a:gd name="connsiteY5" fmla="*/ 959400 h 959400"/>
              <a:gd name="connsiteX6" fmla="*/ 159903 w 12053455"/>
              <a:gd name="connsiteY6" fmla="*/ 959400 h 959400"/>
              <a:gd name="connsiteX7" fmla="*/ 0 w 12053455"/>
              <a:gd name="connsiteY7" fmla="*/ 799497 h 959400"/>
              <a:gd name="connsiteX8" fmla="*/ 0 w 12053455"/>
              <a:gd name="connsiteY8" fmla="*/ 159903 h 95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959400">
                <a:moveTo>
                  <a:pt x="0" y="159903"/>
                </a:moveTo>
                <a:cubicBezTo>
                  <a:pt x="0" y="71591"/>
                  <a:pt x="71591" y="0"/>
                  <a:pt x="159903" y="0"/>
                </a:cubicBezTo>
                <a:lnTo>
                  <a:pt x="11893552" y="0"/>
                </a:lnTo>
                <a:cubicBezTo>
                  <a:pt x="11981864" y="0"/>
                  <a:pt x="12053455" y="71591"/>
                  <a:pt x="12053455" y="159903"/>
                </a:cubicBezTo>
                <a:lnTo>
                  <a:pt x="12053455" y="799497"/>
                </a:lnTo>
                <a:cubicBezTo>
                  <a:pt x="12053455" y="887809"/>
                  <a:pt x="11981864" y="959400"/>
                  <a:pt x="11893552" y="959400"/>
                </a:cubicBezTo>
                <a:lnTo>
                  <a:pt x="159903" y="959400"/>
                </a:lnTo>
                <a:cubicBezTo>
                  <a:pt x="71591" y="959400"/>
                  <a:pt x="0" y="887809"/>
                  <a:pt x="0" y="799497"/>
                </a:cubicBezTo>
                <a:lnTo>
                  <a:pt x="0" y="1599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234" tIns="199234" rIns="199234" bIns="199234" numCol="1" spcCol="1270" anchor="ctr" anchorCtr="0">
            <a:noAutofit/>
          </a:bodyPr>
          <a:lstStyle/>
          <a:p>
            <a:pPr marL="0" lvl="0" indent="0" algn="l" defTabSz="1778000">
              <a:lnSpc>
                <a:spcPct val="90000"/>
              </a:lnSpc>
              <a:spcBef>
                <a:spcPct val="0"/>
              </a:spcBef>
              <a:spcAft>
                <a:spcPct val="35000"/>
              </a:spcAft>
              <a:buNone/>
            </a:pPr>
            <a:r>
              <a:rPr lang="en-US" sz="4000" kern="1200"/>
              <a:t>Help me shape what is important to you</a:t>
            </a:r>
          </a:p>
        </p:txBody>
      </p:sp>
      <p:sp>
        <p:nvSpPr>
          <p:cNvPr id="15" name="Freeform: Shape 14">
            <a:extLst>
              <a:ext uri="{FF2B5EF4-FFF2-40B4-BE49-F238E27FC236}">
                <a16:creationId xmlns:a16="http://schemas.microsoft.com/office/drawing/2014/main" id="{3B8B3D50-F457-CDAA-65F8-D952BE5184B9}"/>
              </a:ext>
            </a:extLst>
          </p:cNvPr>
          <p:cNvSpPr/>
          <p:nvPr/>
        </p:nvSpPr>
        <p:spPr>
          <a:xfrm>
            <a:off x="64653" y="5439092"/>
            <a:ext cx="12053455" cy="959400"/>
          </a:xfrm>
          <a:custGeom>
            <a:avLst/>
            <a:gdLst>
              <a:gd name="connsiteX0" fmla="*/ 0 w 12053455"/>
              <a:gd name="connsiteY0" fmla="*/ 159903 h 959400"/>
              <a:gd name="connsiteX1" fmla="*/ 159903 w 12053455"/>
              <a:gd name="connsiteY1" fmla="*/ 0 h 959400"/>
              <a:gd name="connsiteX2" fmla="*/ 11893552 w 12053455"/>
              <a:gd name="connsiteY2" fmla="*/ 0 h 959400"/>
              <a:gd name="connsiteX3" fmla="*/ 12053455 w 12053455"/>
              <a:gd name="connsiteY3" fmla="*/ 159903 h 959400"/>
              <a:gd name="connsiteX4" fmla="*/ 12053455 w 12053455"/>
              <a:gd name="connsiteY4" fmla="*/ 799497 h 959400"/>
              <a:gd name="connsiteX5" fmla="*/ 11893552 w 12053455"/>
              <a:gd name="connsiteY5" fmla="*/ 959400 h 959400"/>
              <a:gd name="connsiteX6" fmla="*/ 159903 w 12053455"/>
              <a:gd name="connsiteY6" fmla="*/ 959400 h 959400"/>
              <a:gd name="connsiteX7" fmla="*/ 0 w 12053455"/>
              <a:gd name="connsiteY7" fmla="*/ 799497 h 959400"/>
              <a:gd name="connsiteX8" fmla="*/ 0 w 12053455"/>
              <a:gd name="connsiteY8" fmla="*/ 159903 h 95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959400">
                <a:moveTo>
                  <a:pt x="0" y="159903"/>
                </a:moveTo>
                <a:cubicBezTo>
                  <a:pt x="0" y="71591"/>
                  <a:pt x="71591" y="0"/>
                  <a:pt x="159903" y="0"/>
                </a:cubicBezTo>
                <a:lnTo>
                  <a:pt x="11893552" y="0"/>
                </a:lnTo>
                <a:cubicBezTo>
                  <a:pt x="11981864" y="0"/>
                  <a:pt x="12053455" y="71591"/>
                  <a:pt x="12053455" y="159903"/>
                </a:cubicBezTo>
                <a:lnTo>
                  <a:pt x="12053455" y="799497"/>
                </a:lnTo>
                <a:cubicBezTo>
                  <a:pt x="12053455" y="887809"/>
                  <a:pt x="11981864" y="959400"/>
                  <a:pt x="11893552" y="959400"/>
                </a:cubicBezTo>
                <a:lnTo>
                  <a:pt x="159903" y="959400"/>
                </a:lnTo>
                <a:cubicBezTo>
                  <a:pt x="71591" y="959400"/>
                  <a:pt x="0" y="887809"/>
                  <a:pt x="0" y="799497"/>
                </a:cubicBezTo>
                <a:lnTo>
                  <a:pt x="0" y="1599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234" tIns="199234" rIns="199234" bIns="199234" numCol="1" spcCol="1270" anchor="ctr" anchorCtr="0">
            <a:noAutofit/>
          </a:bodyPr>
          <a:lstStyle/>
          <a:p>
            <a:pPr marL="0" lvl="0" indent="0" algn="l" defTabSz="1778000">
              <a:lnSpc>
                <a:spcPct val="90000"/>
              </a:lnSpc>
              <a:spcBef>
                <a:spcPct val="0"/>
              </a:spcBef>
              <a:spcAft>
                <a:spcPct val="35000"/>
              </a:spcAft>
              <a:buNone/>
            </a:pPr>
            <a:r>
              <a:rPr lang="en-US" sz="4000" kern="1200" dirty="0"/>
              <a:t>*** Get Notified When Released ***</a:t>
            </a:r>
          </a:p>
        </p:txBody>
      </p:sp>
      <p:sp>
        <p:nvSpPr>
          <p:cNvPr id="7" name="Rectangle: Rounded Corners 6">
            <a:extLst>
              <a:ext uri="{FF2B5EF4-FFF2-40B4-BE49-F238E27FC236}">
                <a16:creationId xmlns:a16="http://schemas.microsoft.com/office/drawing/2014/main" id="{9C3C261F-4DF4-AFD2-2466-00365C6EC323}"/>
              </a:ext>
            </a:extLst>
          </p:cNvPr>
          <p:cNvSpPr/>
          <p:nvPr/>
        </p:nvSpPr>
        <p:spPr>
          <a:xfrm>
            <a:off x="9090905" y="4724899"/>
            <a:ext cx="2709171" cy="1255901"/>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hlinkClick r:id="rId6"/>
              </a:rPr>
              <a:t>Email Me</a:t>
            </a:r>
            <a:endParaRPr lang="en-US" sz="4400" dirty="0"/>
          </a:p>
        </p:txBody>
      </p:sp>
      <p:pic>
        <p:nvPicPr>
          <p:cNvPr id="8" name="Content Placeholder 17" descr="A close up of a sign&#10;&#10;Description automatically generated">
            <a:extLst>
              <a:ext uri="{FF2B5EF4-FFF2-40B4-BE49-F238E27FC236}">
                <a16:creationId xmlns:a16="http://schemas.microsoft.com/office/drawing/2014/main" id="{3FB27C6B-E566-7738-6650-D1CEAACE10D5}"/>
              </a:ext>
            </a:extLst>
          </p:cNvPr>
          <p:cNvPicPr>
            <a:picLocks noChangeAspect="1"/>
          </p:cNvPicPr>
          <p:nvPr/>
        </p:nvPicPr>
        <p:blipFill>
          <a:blip r:embed="rId9"/>
          <a:stretch>
            <a:fillRect/>
          </a:stretch>
        </p:blipFill>
        <p:spPr>
          <a:xfrm>
            <a:off x="10205381" y="-24880"/>
            <a:ext cx="1996606" cy="885994"/>
          </a:xfrm>
          <a:prstGeom prst="rect">
            <a:avLst/>
          </a:prstGeom>
        </p:spPr>
      </p:pic>
      <p:sp>
        <p:nvSpPr>
          <p:cNvPr id="9" name="Rectangle: Rounded Corners 8">
            <a:extLst>
              <a:ext uri="{FF2B5EF4-FFF2-40B4-BE49-F238E27FC236}">
                <a16:creationId xmlns:a16="http://schemas.microsoft.com/office/drawing/2014/main" id="{081E8DB7-162D-8AD3-9314-BEA16D226E31}"/>
              </a:ext>
            </a:extLst>
          </p:cNvPr>
          <p:cNvSpPr/>
          <p:nvPr/>
        </p:nvSpPr>
        <p:spPr>
          <a:xfrm>
            <a:off x="6724578" y="861114"/>
            <a:ext cx="5075498" cy="761434"/>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r>
              <a:rPr lang="en-US" sz="4400" dirty="0"/>
              <a:t>(Limited Availability)</a:t>
            </a:r>
          </a:p>
        </p:txBody>
      </p:sp>
      <p:pic>
        <p:nvPicPr>
          <p:cNvPr id="31" name="Audio 30">
            <a:hlinkClick r:id="" action="ppaction://media"/>
            <a:extLst>
              <a:ext uri="{FF2B5EF4-FFF2-40B4-BE49-F238E27FC236}">
                <a16:creationId xmlns:a16="http://schemas.microsoft.com/office/drawing/2014/main" id="{E5957468-41C9-D1D3-9192-DA84ED119DBD}"/>
              </a:ext>
            </a:extLst>
          </p:cNvPr>
          <p:cNvPicPr>
            <a:picLocks noChangeAspect="1"/>
          </p:cNvPicPr>
          <p:nvPr>
            <a:audioFile r:link="rId3"/>
            <p:extLst>
              <p:ext uri="{DAA4B4D4-6D71-4841-9C94-3DE7FCFB9230}">
                <p14:media xmlns:p14="http://schemas.microsoft.com/office/powerpoint/2010/main" r:embed="rId2"/>
              </p:ext>
            </p:extLst>
          </p:nvPr>
        </p:nvPicPr>
        <p:blipFill>
          <a:blip r:embed="rId10"/>
          <a:srcRect l="-118750" t="-118750" r="-118750" b="-118750"/>
          <a:stretch>
            <a:fillRect/>
          </a:stretch>
        </p:blipFill>
        <p:spPr>
          <a:xfrm>
            <a:off x="11637818" y="6303818"/>
            <a:ext cx="471886" cy="471886"/>
          </a:xfrm>
          <a:prstGeom prst="ellipse">
            <a:avLst/>
          </a:prstGeom>
        </p:spPr>
      </p:pic>
    </p:spTree>
    <p:custDataLst>
      <p:tags r:id="rId1"/>
    </p:custDataLst>
    <p:extLst>
      <p:ext uri="{BB962C8B-B14F-4D97-AF65-F5344CB8AC3E}">
        <p14:creationId xmlns:p14="http://schemas.microsoft.com/office/powerpoint/2010/main" val="490548130"/>
      </p:ext>
    </p:extLst>
  </p:cSld>
  <p:clrMapOvr>
    <a:masterClrMapping/>
  </p:clrMapOvr>
  <mc:AlternateContent xmlns:mc="http://schemas.openxmlformats.org/markup-compatibility/2006">
    <mc:Choice xmlns:p14="http://schemas.microsoft.com/office/powerpoint/2010/main" Requires="p14">
      <p:transition spd="slow" p14:dur="2000" advTm="26199"/>
    </mc:Choice>
    <mc:Fallback>
      <p:transition spd="slow" advTm="2619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1"/>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3" fill="hold" display="0">
                  <p:stCondLst>
                    <p:cond delay="indefinite"/>
                  </p:stCondLst>
                  <p:endCondLst>
                    <p:cond evt="onStopAudio" delay="0">
                      <p:tgtEl>
                        <p:sldTgt/>
                      </p:tgtEl>
                    </p:cond>
                  </p:endCondLst>
                </p:cTn>
                <p:tgtEl>
                  <p:spTgt spid="31"/>
                </p:tgtEl>
              </p:cMediaNode>
            </p:audio>
          </p:childTnLst>
        </p:cTn>
      </p:par>
    </p:tnLst>
    <p:bldLst>
      <p:bldP spid="10" grpId="0" animBg="1" autoUpdateAnimBg="0"/>
      <p:bldP spid="13" grpId="0" autoUpdateAnimBg="0"/>
      <p:bldP spid="14" grpId="0" animBg="1" autoUpdateAnimBg="0"/>
      <p:bldP spid="15" grpId="0" animBg="1" autoUpdateAnimBg="0"/>
      <p:bldP spid="7" grpId="0" animBg="1" autoUpdateAnimBg="0"/>
      <p:bldP spid="9" grpId="0" animBg="1"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ISPRING_UUID" val="{519927E3-8025-4F38-95CB-508BE37397AE}"/>
  <p:tag name="ISPRING_PROJECT_FOLDER_UPDATED" val="1"/>
  <p:tag name="ISPRING_SCORM_RATE_SLIDES" val="1"/>
  <p:tag name="ISPRING_SCORM_RATE_QUIZZES" val="0"/>
  <p:tag name="ISPRING_SCORM_PASSING_SCORE" val="100.000000"/>
  <p:tag name="ISPRING_ULTRA_SCORM_COURSE_ID" val="0A2C0207-CD24-4393-BDB6-72B5513D6A94"/>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CLOUDFOLDERID" val="0"/>
  <p:tag name="ISPRINGCLOUDFOLDERPATH" val="Repository"/>
  <p:tag name="ISPRING_PLAYERS_CUSTOMIZATION" val="UEsDBBQAAgAIAMgCcEgNwDEewAEAANoDAAAPAAAAbm9uZS9wbGF5ZXIueG1spZJPb9QwEMXPW6nfIfK9dpYKUa0cekDKiaJKC4jbyptME1PHDp4Ju/vtmfzZpFuQQOKQaPIy72fPs/X9sXHJT4hog8/EWqYiAV+E0voqE18+5zd34v799ZVunTlBTGyZCR88iKQELKJtiX2PhupMvBAkQ0XCL4+bI9pM1ETtRqnD4SAPtzLESr1J07X69vBxW9TQmBvrkYwvmLvs5VYkbbQhWjpl4l0qrq9WA/ICZ5F7fIXBdf3KKIvQqDYCgieIatz2bN3Q3838NMErOrWAgkdfDbPvTfH8EMrOAfbaSo9tWyDqCYO20rSx6zufYCwyMTbsGkA0FaB0vhJq9Ko/mPWTM1hPHLzA9ty22zuLNYsjfejeLerubBmyVxNHXYJ0M0wwnGLeOZeDoS5CKZIIPzrLVd5jv85HkK7FuJzn7h0+Wy/xULDGVW4KCvH0gR18JFOUco5ejtHLwdTbh+ITF49TnNsFMgezhKBratzbf86j7/6fOEp4Mp0jcV7B+hKOueW/BA2PQsAz9pqk1sl+tTOVd9ftmxdX40Iadzdl8R1FQiZWwNewNGTUos8w9Zqm1fg5JTTHotXv91JPRC5/AVBLAQIAABQAAgAIAMgCcEgNwDEewAEAANoDAAAPAAAAAAAAAAEAAAAAAAAAAABub25lL3BsYXllci54bWxQSwUGAAAAAAEAAQA9AAAA7QEAAAAA"/>
  <p:tag name="ISPRING_OUTPUT_FOLDER" val="C:\data\dev\svn01\master\trunk\ICompareSolutions\nopCommerce\PPT\HTML"/>
  <p:tag name="ISPRING_PRESENTATION_TITLE" val="Getting Started"/>
  <p:tag name="ISPRING_RESOURCE_FOLDER" val="C:\data\dev\tfs\ICompareSolutions\trunk\ICS\nopCommerce\Docu\Getting Started"/>
  <p:tag name="ISPRING_PRESENTATION_PATH" val="C:\data\dev\tfs\ICompareSolutions\trunk\ICS\nopCommerce\Docu\Getting Started.pptx"/>
  <p:tag name="FLASHSPRING_ZOOM_TAG" val="57"/>
  <p:tag name="ISPRING_PRESENTATION_INFO_2" val="&lt;?xml version=&quot;1.0&quot; encoding=&quot;UTF-8&quot; standalone=&quot;no&quot; ?&gt;&#10;&lt;presentation2&gt;&#10;&#10;  &lt;slides&gt;&#10;    &lt;slide id=&quot;{9997C299-05CE-4352-A1D0-BDD944B6684D}&quot; pptId=&quot;256&quot;/&gt;&#10;    &lt;slide id=&quot;{888BD8AB-D23C-4C42-9520-55BEFA0F7695}&quot; pptId=&quot;257&quot;/&gt;&#10;    &lt;slide id=&quot;{352DFA60-FA44-4D6A-828D-0EC2003B2CC2}&quot; pptId=&quot;259&quot;/&gt;&#10;    &lt;slide id=&quot;{74072B88-D699-4D1C-9EE8-A2E129FB13D1}&quot; pptId=&quot;260&quot;/&gt;&#10;    &lt;slide id=&quot;{05A2303B-DB3E-435E-AC99-D0AF7CB09BA4}&quot; pptId=&quot;297&quot;/&gt;&#10;    &lt;slide id=&quot;{FC5269EF-1FB8-4E78-9171-2EDF2EF264B8}&quot; pptId=&quot;298&quot;/&gt;&#10;    &lt;slide id=&quot;{BC4710BC-1DC8-4EE8-B19B-7A05672DFF10}&quot; pptId=&quot;300&quot;/&gt;&#10;    &lt;slide id=&quot;{56D64610-DD40-4C4A-B2FA-20D5A5D77012}&quot; pptId=&quot;299&quot;/&gt;&#10;    &lt;slide id=&quot;{5375A620-D066-4795-871D-4862D9810793}&quot; pptId=&quot;261&quot;/&gt;&#10;    &lt;slide id=&quot;{C1820E01-7ACA-4DCA-A42D-048567B9B7E8}&quot; pptId=&quot;262&quot;/&gt;&#10;    &lt;slide id=&quot;{02571F0A-EF23-4253-A3CF-5D74404392D4}&quot; pptId=&quot;263&quot;/&gt;&#10;    &lt;slide id=&quot;{D33AA48D-0240-4DEF-8EEB-A3D349EE5BCF}&quot; pptId=&quot;264&quot;/&gt;&#10;    &lt;slide id=&quot;{99544561-E355-40BE-B7E0-A4DDDB241F00}&quot; pptId=&quot;265&quot;/&gt;&#10;    &lt;slide id=&quot;{4250DF6F-90BE-4972-B71F-F80719764A4B}&quot; pptId=&quot;266&quot;/&gt;&#10;    &lt;slide id=&quot;{931D2BCC-736D-4721-83BB-A06B7A7AF0A3}&quot; pptId=&quot;267&quot;/&gt;&#10;    &lt;slide id=&quot;{26E867D4-0DCF-4985-A414-C36C39E1DC83}&quot; pptId=&quot;268&quot;/&gt;&#10;    &lt;slide id=&quot;{1462718C-0B47-4A87-97CF-321B7D11D115}&quot; pptId=&quot;269&quot;/&gt;&#10;    &lt;slide id=&quot;{961F6F04-30BF-4B66-97D4-69B3E8F141F4}&quot; pptId=&quot;270&quot;/&gt;&#10;    &lt;slide id=&quot;{0C3B9859-139E-458E-84B3-B6AB2AA9FCD3}&quot; pptId=&quot;271&quot;/&gt;&#10;    &lt;slide id=&quot;{5C4D8EBC-99EC-4B84-9003-E1DC6956956C}&quot; pptId=&quot;272&quot;/&gt;&#10;    &lt;slide id=&quot;{AD25239A-93D4-45E0-82F0-681B50E82797}&quot; pptId=&quot;273&quot;/&gt;&#10;    &lt;slide id=&quot;{6E3D7169-916F-4119-9B1A-E295B770761F}&quot; pptId=&quot;274&quot;/&gt;&#10;    &lt;slide id=&quot;{FC72BFC9-63DD-4B06-AFAF-BFD30806CDFE}&quot; pptId=&quot;275&quot;/&gt;&#10;    &lt;slide id=&quot;{D71AEAAA-B375-44B0-980E-C80771A1C3E0}&quot; pptId=&quot;277&quot;/&gt;&#10;    &lt;slide id=&quot;{B466B521-B17A-4964-BB9B-5E56C5D093C5}&quot; pptId=&quot;278&quot;/&gt;&#10;    &lt;slide id=&quot;{483CE5B5-BDE8-4CD8-B23D-80D687A77B5B}&quot; pptId=&quot;279&quot;/&gt;&#10;    &lt;slide id=&quot;{8A53C3A1-B0A1-4320-B355-97733151C9B8}&quot; pptId=&quot;280&quot;/&gt;&#10;    &lt;slide id=&quot;{3BB05469-A5EC-488A-94A4-BD88BD038938}&quot; pptId=&quot;276&quot;/&gt;&#10;    &lt;slide id=&quot;{A78E5078-7D4B-4F12-BDD0-D1614758E41C}&quot; pptId=&quot;281&quot;/&gt;&#10;    &lt;slide id=&quot;{8DF886E9-4FA2-4719-93DF-F95ADB2E2C89}&quot; pptId=&quot;282&quot;/&gt;&#10;    &lt;slide id=&quot;{290A9993-55AB-4656-9900-635958B4ED13}&quot; pptId=&quot;283&quot;/&gt;&#10;    &lt;slide id=&quot;{151600FE-CF82-46AA-BEC9-08E723DC88AC}&quot; pptId=&quot;284&quot;/&gt;&#10;    &lt;slide id=&quot;{58580DE5-C5E1-4B4A-B949-90F1073B0E8B}&quot; pptId=&quot;287&quot;/&gt;&#10;    &lt;slide id=&quot;{2E9AD53E-1518-4F51-B959-B2D61E1E527C}&quot; pptId=&quot;288&quot;/&gt;&#10;    &lt;slide id=&quot;{B648350E-16F0-40F9-BFB8-79241FD50FC6}&quot; pptId=&quot;289&quot;/&gt;&#10;    &lt;slide id=&quot;{00A729DE-4287-4DB3-9510-19F171EC2673}&quot; pptId=&quot;285&quot;/&gt;&#10;    &lt;slide id=&quot;{3691B7E8-064C-4F0A-BEE2-0DE02EB33EE5}&quot; pptId=&quot;286&quot;/&gt;&#10;    &lt;slide id=&quot;{FF7DDA51-F8E0-411F-8DF4-18737B5659C0}&quot; pptId=&quot;290&quot;/&gt;&#10;    &lt;slide id=&quot;{36D48702-F0AA-4E7E-B1CF-746154994615}&quot; pptId=&quot;291&quot;/&gt;&#10;    &lt;slide id=&quot;{1518DA98-0E89-4D23-8495-E0D2B86E540B}&quot; pptId=&quot;292&quot;/&gt;&#10;    &lt;slide id=&quot;{AF1A7B40-17A8-4876-AE7B-BA42949AF29E}&quot; pptId=&quot;293&quot;/&gt;&#10;    &lt;slide id=&quot;{1B99271D-7F48-4A46-A0EE-9C69CA56F602}&quot; pptId=&quot;294&quot;/&gt;&#10;    &lt;slide id=&quot;{AA14240F-FE6E-49B6-8083-22EFA1C41C49}&quot; pptId=&quot;295&quot;/&gt;&#10;    &lt;slide id=&quot;{52A9D74C-D8EA-43CF-8A12-29DC9F9EF6C5}&quot; pptId=&quot;296&quot;/&gt;&#10;  &lt;/slides&gt;&#10;&#10;  &lt;narration&gt;&#10;    &lt;audioTracks/&gt;&#10;    &lt;videoTracks/&gt;&#10;  &lt;/narration&gt;&#10;&#10;&lt;/presentation2&gt;&#1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wD///////8DAAAAAwD///////////////////////////////////////////////////////////////////////////////////////////////////////////////////////////////////////////////////////////////////////////////////////////////////////////////////////////////////////////////////////////////////////////////////////////////////////////////////////////////////////////////////////////////////////////////////////////////////////////////////////////////////////////////////////////////////////////////////////////////8BACAA////////////////AAAO////////AwAAAAIA////////////////////////////////////////////////////////////////////////////////////////////////////////////////////////////////////////////////////////////////////////////////////////////////////////////////////////////////////////////////////////////////////////////////////////////////////////////////////////////////////////////////////////////////////////////////////////////////////////////////////////////////////////////////////////////////////////////////////////////////////////////////////////AgABAP///////wQAAAACABAAC6u4eseMDNhNg3+CwA+1Q/0FAAAAAAADAAAAAwADAAAAAQADAAIA////////BAAAAAMAEAALcjKOYam7okSDWY/WPlev4gUAAAABAAMAAAAAAAMAAAAC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NgLAAAAAAAAAAAAACAB////////////////AAAA////////////////BAAAAAMA////////BAAAAAMA////////BAAAAAMA////////BAAAAAMA////////BAAAAAIA////////////////////////////////////////////////////////////////////////////////////////////////////////////////////////////////////////////////////////////////////////////////////////////////////////////////////////////////////////////////////////////////////////////////////////////////////////////////////////////////////////////////////////////////////////////////////////////////////////////////////////////////////////////////AQAgAf///////////////wAADv///////wQAAAACAP///////////////////////////////////////////////////////////////////////////////////////////////////////////////////////////////////////////////////////////////////////////////////////////////////////////////////////////////////////////////////////////////////////////////////////////////////////////////////////////////////////////////////////////////////////////////////////////////////////////////////////////////////////////////////////////////////////////////////////////////////////////////////////wIABQEDAAAAAgD///////8aAAZMaW5rZWRTaGFwZXNEYXRhUHJvcGVydHlfMAUAAAAAAAQAAAADAAQAAAABAAQAAAADAP///////wQAAAADAP///////wQAAAADAP///////wQAAAAAAP///////wMABAEDAAAAAwD///////8lAAZMaW5rZWRTaGFwZVByZXNlbnRhdGlvblNldHRpbmdzRGF0YV8wBQAAAAE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Ku4eseMDNhNg3+CwA+1Q/0DRGF0YQAbAAAABExpbmtlZFNoYXBlRGF0YQAFAAAAAAACTmFtZQAZAAAATGlua2VkU2hhcGVzRGF0YVByb3BlcnR5ABBWZXJzaW9uAAAAAAAJTGFzdFdyaXRlAHCMLDR6AQAAAAEA/////50AnQAAAAVfaWQAEAAAAARyMo5hqbuiRINZj9Y+V6/iA0RhdGEAKgAAAAhQcmVzZW50YXRpb25TY2FubmVkRm9yTGlua2VkU2hhcGVzAAEAAk5hbWUAJAAAAExpbmtlZFNoYXBlUHJlc2VudGF0aW9uU2V0dGluZ3NEYXRhABBWZXJzaW9uAAAAAAAJTGFzdFdyaXRlAC2NLDR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BRIGHTSLIDE_SLIDE_COLLAPSED" val="TRUE"/>
  <p:tag name="TIMING" val="|5|7.7|3.8|5.6"/>
</p:tagLst>
</file>

<file path=ppt/tags/tag11.xml><?xml version="1.0" encoding="utf-8"?>
<p:tagLst xmlns:a="http://schemas.openxmlformats.org/drawingml/2006/main" xmlns:r="http://schemas.openxmlformats.org/officeDocument/2006/relationships" xmlns:p="http://schemas.openxmlformats.org/presentationml/2006/main">
  <p:tag name="TIMING" val="|5.9|12.1|18.9|18.3"/>
</p:tagLst>
</file>

<file path=ppt/tags/tag12.xml><?xml version="1.0" encoding="utf-8"?>
<p:tagLst xmlns:a="http://schemas.openxmlformats.org/drawingml/2006/main" xmlns:r="http://schemas.openxmlformats.org/officeDocument/2006/relationships" xmlns:p="http://schemas.openxmlformats.org/presentationml/2006/main">
  <p:tag name="BRIGHTSLIDE_SLIDE_COLLAPSED" val="TRUE"/>
  <p:tag name="TIMING" val="|5.3|4.8|5.8|5.3"/>
</p:tagLst>
</file>

<file path=ppt/tags/tag13.xml><?xml version="1.0" encoding="utf-8"?>
<p:tagLst xmlns:a="http://schemas.openxmlformats.org/drawingml/2006/main" xmlns:r="http://schemas.openxmlformats.org/officeDocument/2006/relationships" xmlns:p="http://schemas.openxmlformats.org/presentationml/2006/main">
  <p:tag name="BRIGHTSLIDE_SLIDE_COLLAPSED" val="TRUE"/>
  <p:tag name="TIMING" val="|4.8|6.4|5.7|5.7"/>
</p:tagLst>
</file>

<file path=ppt/tags/tag14.xml><?xml version="1.0" encoding="utf-8"?>
<p:tagLst xmlns:a="http://schemas.openxmlformats.org/drawingml/2006/main" xmlns:r="http://schemas.openxmlformats.org/officeDocument/2006/relationships" xmlns:p="http://schemas.openxmlformats.org/presentationml/2006/main">
  <p:tag name="BRIGHTSLIDE_SLIDE_COLLAPSED" val="TRUE"/>
  <p:tag name="TIMING" val="|2.3|4.7|8.5|4.6|10.3|7.1|9.2|8.3"/>
</p:tagLst>
</file>

<file path=ppt/tags/tag15.xml><?xml version="1.0" encoding="utf-8"?>
<p:tagLst xmlns:a="http://schemas.openxmlformats.org/drawingml/2006/main" xmlns:r="http://schemas.openxmlformats.org/officeDocument/2006/relationships" xmlns:p="http://schemas.openxmlformats.org/presentationml/2006/main">
  <p:tag name="BRIGHTSLIDE_SLIDE_COLLAPSED" val="TRUE"/>
  <p:tag name="TIMING" val="|3.5|2.3|1.8|4.4|5.1"/>
</p:tagLst>
</file>

<file path=ppt/tags/tag2.xml><?xml version="1.0" encoding="utf-8"?>
<p:tagLst xmlns:a="http://schemas.openxmlformats.org/drawingml/2006/main" xmlns:r="http://schemas.openxmlformats.org/officeDocument/2006/relationships" xmlns:p="http://schemas.openxmlformats.org/presentationml/2006/main">
  <p:tag name="TIMING" val="|13.6|6.1|9.6|2.1|3.3|3.3"/>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 name="TIMING" val="|2.0|7.6|6.1|7.8"/>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 name="TIMING" val="|1.8|7.5|7.7|6.8|9.8|18.3"/>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 name="TIMING" val="|2.6|12.8|2.1|3.7|11.7"/>
</p:tagLst>
</file>

<file path=ppt/tags/tag6.xml><?xml version="1.0" encoding="utf-8"?>
<p:tagLst xmlns:a="http://schemas.openxmlformats.org/drawingml/2006/main" xmlns:r="http://schemas.openxmlformats.org/officeDocument/2006/relationships" xmlns:p="http://schemas.openxmlformats.org/presentationml/2006/main">
  <p:tag name="BRIGHTSLIDE_SLIDE_COLLAPSED" val="TRUE"/>
  <p:tag name="TIMING" val="|7.2|1.8|10.4|11.4|9.9|8.9|8.7|12.7|2.2|3.2|4.8|5.3"/>
</p:tagLst>
</file>

<file path=ppt/tags/tag7.xml><?xml version="1.0" encoding="utf-8"?>
<p:tagLst xmlns:a="http://schemas.openxmlformats.org/drawingml/2006/main" xmlns:r="http://schemas.openxmlformats.org/officeDocument/2006/relationships" xmlns:p="http://schemas.openxmlformats.org/presentationml/2006/main">
  <p:tag name="BRIGHTSLIDE_SLIDE_COLLAPSED" val="TRUE"/>
  <p:tag name="TIMING" val="|4.0|3.6|3.8|3.1"/>
</p:tagLst>
</file>

<file path=ppt/tags/tag8.xml><?xml version="1.0" encoding="utf-8"?>
<p:tagLst xmlns:a="http://schemas.openxmlformats.org/drawingml/2006/main" xmlns:r="http://schemas.openxmlformats.org/officeDocument/2006/relationships" xmlns:p="http://schemas.openxmlformats.org/presentationml/2006/main">
  <p:tag name="BRIGHTSLIDE_SLIDE_COLLAPSED" val="TRUE"/>
  <p:tag name="TIMING" val="|9.4|6.6|5.3|2.5"/>
</p:tagLst>
</file>

<file path=ppt/tags/tag9.xml><?xml version="1.0" encoding="utf-8"?>
<p:tagLst xmlns:a="http://schemas.openxmlformats.org/drawingml/2006/main" xmlns:r="http://schemas.openxmlformats.org/officeDocument/2006/relationships" xmlns:p="http://schemas.openxmlformats.org/presentationml/2006/main">
  <p:tag name="BRIGHTSLIDE_SLIDE_COLLAPSED" val="TRUE"/>
  <p:tag name="TIMING" val="|2.1|23.8|15.3|15.0"/>
</p:tagLst>
</file>

<file path=ppt/theme/theme1.xml><?xml version="1.0" encoding="utf-8"?>
<a:theme xmlns:a="http://schemas.openxmlformats.org/drawingml/2006/main" name="Office Them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ontrol xmlns="http://schemas.microsoft.com/VisualStudio/2011/storyboarding/control">
  <Id Name="14f785bc-406b-4090-b0be-3928ddd464fd" Revision="1" Stencil="95d77ba2-a723-4444-8582-8a845df3a24b" StencilVersion="1.0"/>
</Control>
</file>

<file path=customXml/item2.xml><?xml version="1.0" encoding="utf-8"?>
<Control xmlns="http://schemas.microsoft.com/VisualStudio/2011/storyboarding/control">
  <Id Name="System.Storyboarding.Icons.User" Revision="1" Stencil="System.Storyboarding.Icons" StencilVersion="0.1"/>
</Control>
</file>

<file path=customXml/item3.xml><?xml version="1.0" encoding="utf-8"?>
<Control xmlns="http://schemas.microsoft.com/VisualStudio/2011/storyboarding/control">
  <Id Name="System.Storyboarding.Icons.User" Revision="1" Stencil="System.Storyboarding.Icons" StencilVersion="0.1"/>
</Control>
</file>

<file path=customXml/item4.xml><?xml version="1.0" encoding="utf-8"?>
<tns:customPropertyEditors xmlns:tns="http://schemas.microsoft.com/office/2006/customDocumentInformationPanel">
  <tns:showOnOpen>false</tns:showOnOpen>
  <tns:defaultPropertyEditorNamespace>Standard properties</tns:defaultPropertyEditorNamespace>
</tns:customPropertyEditors>
</file>

<file path=customXml/item5.xml><?xml version="1.0" encoding="utf-8"?>
<Control xmlns="http://schemas.microsoft.com/VisualStudio/2011/storyboarding/control">
  <Id Name="System.Storyboarding.Icons.User" Revision="1" Stencil="System.Storyboarding.Icons" StencilVersion="0.1"/>
</Control>
</file>

<file path=customXml/itemProps1.xml><?xml version="1.0" encoding="utf-8"?>
<ds:datastoreItem xmlns:ds="http://schemas.openxmlformats.org/officeDocument/2006/customXml" ds:itemID="{22647BEE-9623-464A-8697-B6C2D6580188}">
  <ds:schemaRefs>
    <ds:schemaRef ds:uri="http://schemas.microsoft.com/VisualStudio/2011/storyboarding/control"/>
  </ds:schemaRefs>
</ds:datastoreItem>
</file>

<file path=customXml/itemProps2.xml><?xml version="1.0" encoding="utf-8"?>
<ds:datastoreItem xmlns:ds="http://schemas.openxmlformats.org/officeDocument/2006/customXml" ds:itemID="{ECE9AA73-7F12-4744-A390-EB82753A2EC9}">
  <ds:schemaRefs>
    <ds:schemaRef ds:uri="http://schemas.microsoft.com/VisualStudio/2011/storyboarding/control"/>
  </ds:schemaRefs>
</ds:datastoreItem>
</file>

<file path=customXml/itemProps3.xml><?xml version="1.0" encoding="utf-8"?>
<ds:datastoreItem xmlns:ds="http://schemas.openxmlformats.org/officeDocument/2006/customXml" ds:itemID="{EBDE7F79-D27B-4E0A-A9F1-7145E0708CAA}">
  <ds:schemaRefs>
    <ds:schemaRef ds:uri="http://schemas.microsoft.com/VisualStudio/2011/storyboarding/control"/>
  </ds:schemaRefs>
</ds:datastoreItem>
</file>

<file path=customXml/itemProps4.xml><?xml version="1.0" encoding="utf-8"?>
<ds:datastoreItem xmlns:ds="http://schemas.openxmlformats.org/officeDocument/2006/customXml" ds:itemID="{F8F907AC-A3A8-4805-9838-09E933955304}">
  <ds:schemaRefs>
    <ds:schemaRef ds:uri="http://schemas.microsoft.com/office/2006/customDocumentInformationPanel"/>
  </ds:schemaRefs>
</ds:datastoreItem>
</file>

<file path=customXml/itemProps5.xml><?xml version="1.0" encoding="utf-8"?>
<ds:datastoreItem xmlns:ds="http://schemas.openxmlformats.org/officeDocument/2006/customXml" ds:itemID="{C4387F30-4284-4394-80BE-D1C13776D949}">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260470</TotalTime>
  <Words>2781</Words>
  <Application>Microsoft Office PowerPoint</Application>
  <PresentationFormat>Widescreen</PresentationFormat>
  <Paragraphs>329</Paragraphs>
  <Slides>14</Slides>
  <Notes>14</Notes>
  <HiddenSlides>0</HiddenSlides>
  <MMClips>14</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4</vt:i4>
      </vt:variant>
    </vt:vector>
  </HeadingPairs>
  <TitlesOfParts>
    <vt:vector size="19" baseType="lpstr">
      <vt:lpstr>Aptos</vt:lpstr>
      <vt:lpstr>Arial</vt:lpstr>
      <vt:lpstr>Calibri</vt:lpstr>
      <vt:lpstr>Calibri Light</vt:lpstr>
      <vt:lpstr>Office Theme</vt:lpstr>
      <vt:lpstr>Home</vt:lpstr>
      <vt:lpstr>What is Multimodal Content?</vt:lpstr>
      <vt:lpstr>Multimodal Content Examples</vt:lpstr>
      <vt:lpstr>Why should you create Multimodal Content?</vt:lpstr>
      <vt:lpstr>The Problem</vt:lpstr>
      <vt:lpstr>The Dream</vt:lpstr>
      <vt:lpstr>The Fix</vt:lpstr>
      <vt:lpstr>A Solution</vt:lpstr>
      <vt:lpstr>Email me at John@MultimodalSlides.com to be a Beta User</vt:lpstr>
      <vt:lpstr>Not many options for Slide-based Tools</vt:lpstr>
      <vt:lpstr>This Website (MultimodalSlides.com)</vt:lpstr>
      <vt:lpstr>Nothing else out there provides this Multimodal Experience!</vt:lpstr>
      <vt:lpstr>Roadmap</vt:lpstr>
      <vt:lpstr>Choose your modal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pCommerce Top 10</dc:title>
  <dc:creator>John Baluka</dc:creator>
  <cp:lastModifiedBy>John Baluka</cp:lastModifiedBy>
  <cp:revision>808</cp:revision>
  <dcterms:created xsi:type="dcterms:W3CDTF">2016-02-25T05:05:50Z</dcterms:created>
  <dcterms:modified xsi:type="dcterms:W3CDTF">2024-06-20T04:3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Tfs.LastKnownPath">
    <vt:lpwstr>https://d.docs.live.net/7068dd7de4bf55dd/Presentations/AgileSlides/_Template.pptx</vt:lpwstr>
  </property>
</Properties>
</file>